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notesSlides/notesSlide10.xml" ContentType="application/vnd.openxmlformats-officedocument.presentationml.notesSlide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tags/tag65.xml" ContentType="application/vnd.openxmlformats-officedocument.presentationml.tags+xml"/>
  <Override PartName="/ppt/notesSlides/notesSlide43.xml" ContentType="application/vnd.openxmlformats-officedocument.presentationml.notesSlide+xml"/>
  <Override PartName="/ppt/tags/tag66.xml" ContentType="application/vnd.openxmlformats-officedocument.presentationml.tags+xml"/>
  <Override PartName="/ppt/notesSlides/notesSlide44.xml" ContentType="application/vnd.openxmlformats-officedocument.presentationml.notesSlide+xml"/>
  <Override PartName="/ppt/tags/tag67.xml" ContentType="application/vnd.openxmlformats-officedocument.presentationml.tags+xml"/>
  <Override PartName="/ppt/notesSlides/notesSlide45.xml" ContentType="application/vnd.openxmlformats-officedocument.presentationml.notesSlide+xml"/>
  <Override PartName="/ppt/tags/tag68.xml" ContentType="application/vnd.openxmlformats-officedocument.presentationml.tags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tags/tag69.xml" ContentType="application/vnd.openxmlformats-officedocument.presentationml.tags+xml"/>
  <Override PartName="/ppt/notesSlides/notesSlide49.xml" ContentType="application/vnd.openxmlformats-officedocument.presentationml.notesSlide+xml"/>
  <Override PartName="/ppt/tags/tag70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tags/tag71.xml" ContentType="application/vnd.openxmlformats-officedocument.presentationml.tags+xml"/>
  <Override PartName="/ppt/notesSlides/notesSlide52.xml" ContentType="application/vnd.openxmlformats-officedocument.presentationml.notesSlide+xml"/>
  <Override PartName="/ppt/tags/tag72.xml" ContentType="application/vnd.openxmlformats-officedocument.presentationml.tags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tags/tag73.xml" ContentType="application/vnd.openxmlformats-officedocument.presentationml.tags+xml"/>
  <Override PartName="/ppt/notesSlides/notesSlide55.xml" ContentType="application/vnd.openxmlformats-officedocument.presentationml.notesSlide+xml"/>
  <Override PartName="/ppt/tags/tag74.xml" ContentType="application/vnd.openxmlformats-officedocument.presentationml.tags+xml"/>
  <Override PartName="/ppt/notesSlides/notesSlide5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61"/>
  </p:notesMasterIdLst>
  <p:handoutMasterIdLst>
    <p:handoutMasterId r:id="rId62"/>
  </p:handoutMasterIdLst>
  <p:sldIdLst>
    <p:sldId id="321" r:id="rId4"/>
    <p:sldId id="2145705782" r:id="rId5"/>
    <p:sldId id="2145705951" r:id="rId6"/>
    <p:sldId id="2145705952" r:id="rId7"/>
    <p:sldId id="2145705953" r:id="rId8"/>
    <p:sldId id="2145705954" r:id="rId9"/>
    <p:sldId id="2145705955" r:id="rId10"/>
    <p:sldId id="2145705956" r:id="rId11"/>
    <p:sldId id="2145705957" r:id="rId12"/>
    <p:sldId id="2145705958" r:id="rId13"/>
    <p:sldId id="2145705959" r:id="rId14"/>
    <p:sldId id="330" r:id="rId15"/>
    <p:sldId id="290" r:id="rId16"/>
    <p:sldId id="331" r:id="rId17"/>
    <p:sldId id="304" r:id="rId18"/>
    <p:sldId id="309" r:id="rId19"/>
    <p:sldId id="310" r:id="rId20"/>
    <p:sldId id="311" r:id="rId21"/>
    <p:sldId id="312" r:id="rId22"/>
    <p:sldId id="294" r:id="rId23"/>
    <p:sldId id="279" r:id="rId24"/>
    <p:sldId id="280" r:id="rId25"/>
    <p:sldId id="285" r:id="rId26"/>
    <p:sldId id="281" r:id="rId27"/>
    <p:sldId id="282" r:id="rId28"/>
    <p:sldId id="287" r:id="rId29"/>
    <p:sldId id="2145705874" r:id="rId30"/>
    <p:sldId id="276" r:id="rId31"/>
    <p:sldId id="272" r:id="rId32"/>
    <p:sldId id="2145705925" r:id="rId33"/>
    <p:sldId id="299" r:id="rId34"/>
    <p:sldId id="300" r:id="rId35"/>
    <p:sldId id="301" r:id="rId36"/>
    <p:sldId id="2145705870" r:id="rId37"/>
    <p:sldId id="302" r:id="rId38"/>
    <p:sldId id="2145705950" r:id="rId39"/>
    <p:sldId id="2145705803" r:id="rId40"/>
    <p:sldId id="2145705806" r:id="rId41"/>
    <p:sldId id="2145705887" r:id="rId42"/>
    <p:sldId id="2145705888" r:id="rId43"/>
    <p:sldId id="314" r:id="rId44"/>
    <p:sldId id="2145705943" r:id="rId45"/>
    <p:sldId id="2145705923" r:id="rId46"/>
    <p:sldId id="315" r:id="rId47"/>
    <p:sldId id="324" r:id="rId48"/>
    <p:sldId id="323" r:id="rId49"/>
    <p:sldId id="322" r:id="rId50"/>
    <p:sldId id="2145705823" r:id="rId51"/>
    <p:sldId id="2145705933" r:id="rId52"/>
    <p:sldId id="2145705739" r:id="rId53"/>
    <p:sldId id="2145705913" r:id="rId54"/>
    <p:sldId id="2145705949" r:id="rId55"/>
    <p:sldId id="2145705749" r:id="rId56"/>
    <p:sldId id="2145705911" r:id="rId57"/>
    <p:sldId id="2145705934" r:id="rId58"/>
    <p:sldId id="2145705791" r:id="rId59"/>
    <p:sldId id="2145705742" r:id="rId60"/>
  </p:sldIdLst>
  <p:sldSz cx="12192000" cy="6858000"/>
  <p:notesSz cx="6858000" cy="9144000"/>
  <p:custDataLst>
    <p:tags r:id="rId6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2145705782"/>
            <p14:sldId id="2145705951"/>
            <p14:sldId id="2145705952"/>
            <p14:sldId id="2145705953"/>
            <p14:sldId id="2145705954"/>
            <p14:sldId id="2145705955"/>
            <p14:sldId id="2145705956"/>
            <p14:sldId id="2145705957"/>
            <p14:sldId id="2145705958"/>
            <p14:sldId id="2145705959"/>
            <p14:sldId id="330"/>
            <p14:sldId id="290"/>
            <p14:sldId id="331"/>
            <p14:sldId id="304"/>
            <p14:sldId id="309"/>
            <p14:sldId id="310"/>
            <p14:sldId id="311"/>
            <p14:sldId id="312"/>
            <p14:sldId id="294"/>
            <p14:sldId id="279"/>
            <p14:sldId id="280"/>
            <p14:sldId id="285"/>
            <p14:sldId id="281"/>
            <p14:sldId id="282"/>
            <p14:sldId id="287"/>
            <p14:sldId id="2145705874"/>
            <p14:sldId id="276"/>
            <p14:sldId id="272"/>
            <p14:sldId id="2145705925"/>
            <p14:sldId id="299"/>
            <p14:sldId id="300"/>
            <p14:sldId id="301"/>
            <p14:sldId id="2145705870"/>
            <p14:sldId id="302"/>
            <p14:sldId id="2145705950"/>
            <p14:sldId id="2145705803"/>
            <p14:sldId id="2145705806"/>
            <p14:sldId id="2145705887"/>
            <p14:sldId id="2145705888"/>
            <p14:sldId id="314"/>
            <p14:sldId id="2145705943"/>
            <p14:sldId id="2145705923"/>
            <p14:sldId id="315"/>
            <p14:sldId id="324"/>
            <p14:sldId id="323"/>
            <p14:sldId id="322"/>
            <p14:sldId id="2145705823"/>
          </p14:sldIdLst>
        </p14:section>
        <p14:section name="How-to guides" id="{940A1398-85E1-49ED-8D6E-5B86E8378269}">
          <p14:sldIdLst>
            <p14:sldId id="2145705933"/>
            <p14:sldId id="2145705739"/>
            <p14:sldId id="2145705913"/>
            <p14:sldId id="2145705949"/>
            <p14:sldId id="2145705749"/>
            <p14:sldId id="2145705911"/>
          </p14:sldIdLst>
        </p14:section>
        <p14:section name="Style guide" id="{469652BB-A032-4484-908B-5AD5FE899E09}">
          <p14:sldIdLst>
            <p14:sldId id="2145705934"/>
            <p14:sldId id="2145705791"/>
            <p14:sldId id="2145705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1187" autoAdjust="0"/>
  </p:normalViewPr>
  <p:slideViewPr>
    <p:cSldViewPr snapToGrid="0" snapToObjects="1" showGuides="1">
      <p:cViewPr varScale="1">
        <p:scale>
          <a:sx n="64" d="100"/>
          <a:sy n="64" d="100"/>
        </p:scale>
        <p:origin x="758" y="3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7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643059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232668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346292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24795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08710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592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51818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21653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635392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89323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737770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854824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65433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223607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39241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37947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6257505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414559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33624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979393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274765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422532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9766951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2105580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72178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80791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9080266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35130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295333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0750900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24473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7915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83520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2834189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4430274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18951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3256740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18476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11018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801098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2241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14812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60622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331482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placement described under «How-to guides»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4081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6" Type="http://schemas.openxmlformats.org/officeDocument/2006/relationships/image" Target="../media/image2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7.xml"/><Relationship Id="rId6" Type="http://schemas.openxmlformats.org/officeDocument/2006/relationships/image" Target="../media/image2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6" Type="http://schemas.openxmlformats.org/officeDocument/2006/relationships/image" Target="../media/image24.jpg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image" Target="../media/image28.sv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image" Target="../media/image2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2.jp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31.jpg"/><Relationship Id="rId5" Type="http://schemas.openxmlformats.org/officeDocument/2006/relationships/image" Target="../media/image1.emf"/><Relationship Id="rId10" Type="http://schemas.openxmlformats.org/officeDocument/2006/relationships/image" Target="../media/image35.jpg"/><Relationship Id="rId4" Type="http://schemas.openxmlformats.org/officeDocument/2006/relationships/oleObject" Target="../embeddings/oleObject38.bin"/><Relationship Id="rId9" Type="http://schemas.openxmlformats.org/officeDocument/2006/relationships/image" Target="../media/image34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5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1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Relationship Id="rId9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6.jp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2.x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3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6" Type="http://schemas.openxmlformats.org/officeDocument/2006/relationships/image" Target="../media/image3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21.xml"/><Relationship Id="rId7" Type="http://schemas.openxmlformats.org/officeDocument/2006/relationships/hyperlink" Target="https://en.bbv.ch/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.xml"/><Relationship Id="rId6" Type="http://schemas.openxmlformats.org/officeDocument/2006/relationships/image" Target="../media/image3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41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Relationship Id="rId6" Type="http://schemas.openxmlformats.org/officeDocument/2006/relationships/image" Target="../media/image4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.xml"/><Relationship Id="rId6" Type="http://schemas.openxmlformats.org/officeDocument/2006/relationships/image" Target="../media/image43.jpg"/><Relationship Id="rId5" Type="http://schemas.openxmlformats.org/officeDocument/2006/relationships/image" Target="../media/image1.emf"/><Relationship Id="rId10" Type="http://schemas.openxmlformats.org/officeDocument/2006/relationships/image" Target="../media/image47.sv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58.svg"/><Relationship Id="rId1" Type="http://schemas.openxmlformats.org/officeDocument/2006/relationships/tags" Target="../tags/tag48.xml"/><Relationship Id="rId6" Type="http://schemas.openxmlformats.org/officeDocument/2006/relationships/image" Target="../media/image48.jpg"/><Relationship Id="rId11" Type="http://schemas.openxmlformats.org/officeDocument/2006/relationships/image" Target="../media/image53.png"/><Relationship Id="rId5" Type="http://schemas.openxmlformats.org/officeDocument/2006/relationships/image" Target="../media/image1.emf"/><Relationship Id="rId15" Type="http://schemas.openxmlformats.org/officeDocument/2006/relationships/image" Target="../media/image57.png"/><Relationship Id="rId10" Type="http://schemas.openxmlformats.org/officeDocument/2006/relationships/image" Target="../media/image52.sv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51.png"/><Relationship Id="rId14" Type="http://schemas.openxmlformats.org/officeDocument/2006/relationships/image" Target="../media/image56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1.emf"/><Relationship Id="rId10" Type="http://schemas.openxmlformats.org/officeDocument/2006/relationships/image" Target="../media/image63.png"/><Relationship Id="rId4" Type="http://schemas.openxmlformats.org/officeDocument/2006/relationships/oleObject" Target="../embeddings/oleObject47.bin"/><Relationship Id="rId9" Type="http://schemas.openxmlformats.org/officeDocument/2006/relationships/image" Target="../media/image62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6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3.xml"/><Relationship Id="rId6" Type="http://schemas.openxmlformats.org/officeDocument/2006/relationships/image" Target="../media/image6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6" Type="http://schemas.openxmlformats.org/officeDocument/2006/relationships/image" Target="../media/image71.jpg"/><Relationship Id="rId5" Type="http://schemas.openxmlformats.org/officeDocument/2006/relationships/image" Target="../media/image70.emf"/><Relationship Id="rId4" Type="http://schemas.openxmlformats.org/officeDocument/2006/relationships/oleObject" Target="../embeddings/oleObject5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5.xml"/><Relationship Id="rId6" Type="http://schemas.openxmlformats.org/officeDocument/2006/relationships/image" Target="../media/image7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sv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Relationship Id="rId6" Type="http://schemas.openxmlformats.org/officeDocument/2006/relationships/image" Target="../media/image7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77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image" Target="../media/image7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Relationship Id="rId9" Type="http://schemas.openxmlformats.org/officeDocument/2006/relationships/image" Target="../media/image79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svg"/><Relationship Id="rId7" Type="http://schemas.openxmlformats.org/officeDocument/2006/relationships/image" Target="../media/image85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5" Type="http://schemas.openxmlformats.org/officeDocument/2006/relationships/image" Target="../media/image83.svg"/><Relationship Id="rId4" Type="http://schemas.openxmlformats.org/officeDocument/2006/relationships/image" Target="../media/image82.png"/><Relationship Id="rId9" Type="http://schemas.openxmlformats.org/officeDocument/2006/relationships/image" Target="../media/image87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5" Type="http://schemas.openxmlformats.org/officeDocument/2006/relationships/image" Target="../media/image88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5" Type="http://schemas.openxmlformats.org/officeDocument/2006/relationships/image" Target="../media/image89.emf"/><Relationship Id="rId4" Type="http://schemas.openxmlformats.org/officeDocument/2006/relationships/oleObject" Target="../embeddings/oleObject59.bin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92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image" Target="../media/image91.png"/><Relationship Id="rId11" Type="http://schemas.openxmlformats.org/officeDocument/2006/relationships/image" Target="../media/image95.png"/><Relationship Id="rId5" Type="http://schemas.openxmlformats.org/officeDocument/2006/relationships/image" Target="../media/image90.emf"/><Relationship Id="rId10" Type="http://schemas.openxmlformats.org/officeDocument/2006/relationships/image" Target="../media/image24.jpg"/><Relationship Id="rId4" Type="http://schemas.openxmlformats.org/officeDocument/2006/relationships/oleObject" Target="../embeddings/oleObject60.bin"/><Relationship Id="rId9" Type="http://schemas.openxmlformats.org/officeDocument/2006/relationships/image" Target="../media/image9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1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image" Target="../media/image24.jpg"/><Relationship Id="rId5" Type="http://schemas.openxmlformats.org/officeDocument/2006/relationships/image" Target="../media/image90.emf"/><Relationship Id="rId4" Type="http://schemas.openxmlformats.org/officeDocument/2006/relationships/oleObject" Target="../embeddings/oleObject61.bin"/><Relationship Id="rId9" Type="http://schemas.openxmlformats.org/officeDocument/2006/relationships/image" Target="../media/image98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4.xml"/><Relationship Id="rId6" Type="http://schemas.openxmlformats.org/officeDocument/2006/relationships/image" Target="../media/image9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5.xml"/><Relationship Id="rId6" Type="http://schemas.openxmlformats.org/officeDocument/2006/relationships/image" Target="../media/image10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6.xml"/><Relationship Id="rId6" Type="http://schemas.openxmlformats.org/officeDocument/2006/relationships/image" Target="../media/image3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7" Type="http://schemas.openxmlformats.org/officeDocument/2006/relationships/image" Target="../media/image103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7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3" Type="http://schemas.openxmlformats.org/officeDocument/2006/relationships/notesSlide" Target="../notesSlides/notesSlide46.xml"/><Relationship Id="rId7" Type="http://schemas.openxmlformats.org/officeDocument/2006/relationships/image" Target="../media/image103.jpe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notesSlide" Target="../notesSlides/notesSlide49.xml"/><Relationship Id="rId7" Type="http://schemas.openxmlformats.org/officeDocument/2006/relationships/image" Target="../media/image10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image" Target="../media/image106.png"/><Relationship Id="rId5" Type="http://schemas.openxmlformats.org/officeDocument/2006/relationships/image" Target="../media/image105.emf"/><Relationship Id="rId4" Type="http://schemas.openxmlformats.org/officeDocument/2006/relationships/oleObject" Target="../embeddings/oleObject67.bin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notesSlide" Target="../notesSlides/notesSlide50.xml"/><Relationship Id="rId7" Type="http://schemas.openxmlformats.org/officeDocument/2006/relationships/image" Target="../media/image1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image" Target="../media/image110.png"/><Relationship Id="rId5" Type="http://schemas.openxmlformats.org/officeDocument/2006/relationships/image" Target="../media/image109.emf"/><Relationship Id="rId4" Type="http://schemas.openxmlformats.org/officeDocument/2006/relationships/oleObject" Target="../embeddings/oleObject68.bin"/><Relationship Id="rId9" Type="http://schemas.openxmlformats.org/officeDocument/2006/relationships/image" Target="../media/image11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3" Type="http://schemas.openxmlformats.org/officeDocument/2006/relationships/notesSlide" Target="../notesSlides/notesSlide52.xml"/><Relationship Id="rId7" Type="http://schemas.openxmlformats.org/officeDocument/2006/relationships/hyperlink" Target="file:///C:\Users\Public\bbv_templates\Marketing\PPT-Bibliotheken\Bilder-Bibliothek" TargetMode="External"/><Relationship Id="rId12" Type="http://schemas.openxmlformats.org/officeDocument/2006/relationships/image" Target="../media/image12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image" Target="../media/image24.jpg"/><Relationship Id="rId11" Type="http://schemas.openxmlformats.org/officeDocument/2006/relationships/image" Target="../media/image120.png"/><Relationship Id="rId5" Type="http://schemas.openxmlformats.org/officeDocument/2006/relationships/image" Target="../media/image116.emf"/><Relationship Id="rId15" Type="http://schemas.openxmlformats.org/officeDocument/2006/relationships/image" Target="../media/image124.png"/><Relationship Id="rId10" Type="http://schemas.openxmlformats.org/officeDocument/2006/relationships/image" Target="../media/image119.png"/><Relationship Id="rId4" Type="http://schemas.openxmlformats.org/officeDocument/2006/relationships/oleObject" Target="../embeddings/oleObject69.bin"/><Relationship Id="rId9" Type="http://schemas.openxmlformats.org/officeDocument/2006/relationships/image" Target="../media/image118.svg"/><Relationship Id="rId14" Type="http://schemas.openxmlformats.org/officeDocument/2006/relationships/image" Target="../media/image123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notesSlide" Target="../notesSlides/notesSlide53.xml"/><Relationship Id="rId7" Type="http://schemas.openxmlformats.org/officeDocument/2006/relationships/image" Target="../media/image126.png"/><Relationship Id="rId12" Type="http://schemas.openxmlformats.org/officeDocument/2006/relationships/image" Target="../media/image13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image" Target="../media/image24.jpg"/><Relationship Id="rId11" Type="http://schemas.openxmlformats.org/officeDocument/2006/relationships/image" Target="../media/image129.png"/><Relationship Id="rId5" Type="http://schemas.openxmlformats.org/officeDocument/2006/relationships/image" Target="../media/image125.emf"/><Relationship Id="rId10" Type="http://schemas.openxmlformats.org/officeDocument/2006/relationships/image" Target="../media/image128.png"/><Relationship Id="rId4" Type="http://schemas.openxmlformats.org/officeDocument/2006/relationships/oleObject" Target="../embeddings/oleObject70.bin"/><Relationship Id="rId9" Type="http://schemas.openxmlformats.org/officeDocument/2006/relationships/image" Target="../media/image127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emf"/><Relationship Id="rId3" Type="http://schemas.openxmlformats.org/officeDocument/2006/relationships/notesSlide" Target="../notesSlides/notesSlide55.xml"/><Relationship Id="rId7" Type="http://schemas.openxmlformats.org/officeDocument/2006/relationships/image" Target="../media/image13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image" Target="../media/image107.png"/><Relationship Id="rId5" Type="http://schemas.openxmlformats.org/officeDocument/2006/relationships/image" Target="../media/image131.emf"/><Relationship Id="rId4" Type="http://schemas.openxmlformats.org/officeDocument/2006/relationships/oleObject" Target="../embeddings/oleObject71.bin"/><Relationship Id="rId9" Type="http://schemas.openxmlformats.org/officeDocument/2006/relationships/image" Target="../media/image13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7" Type="http://schemas.openxmlformats.org/officeDocument/2006/relationships/image" Target="../media/image13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image" Target="../media/image136.png"/><Relationship Id="rId5" Type="http://schemas.openxmlformats.org/officeDocument/2006/relationships/image" Target="../media/image135.emf"/><Relationship Id="rId4" Type="http://schemas.openxmlformats.org/officeDocument/2006/relationships/oleObject" Target="../embeddings/oleObject7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image" Target="../media/image1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5.xml"/><Relationship Id="rId6" Type="http://schemas.openxmlformats.org/officeDocument/2006/relationships/image" Target="../media/image2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1908256360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583452B-BBA4-03B8-7DC0-826050B397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322" y="0"/>
            <a:ext cx="9303026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FFBE9-347B-DAB3-96FC-93AE1791F976}"/>
              </a:ext>
            </a:extLst>
          </p:cNvPr>
          <p:cNvSpPr txBox="1"/>
          <p:nvPr/>
        </p:nvSpPr>
        <p:spPr>
          <a:xfrm>
            <a:off x="4936565" y="1960282"/>
            <a:ext cx="3573929" cy="41237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 bought by a user</a:t>
            </a:r>
          </a:p>
        </p:txBody>
      </p:sp>
    </p:spTree>
    <p:extLst>
      <p:ext uri="{BB962C8B-B14F-4D97-AF65-F5344CB8AC3E}">
        <p14:creationId xmlns:p14="http://schemas.microsoft.com/office/powerpoint/2010/main" val="2661406319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/>
              <a:t>bbv</a:t>
            </a:r>
            <a:r>
              <a:rPr lang="en-GB" dirty="0"/>
              <a:t>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/>
              <a:t>Presentation title</a:t>
            </a:r>
            <a:br>
              <a:rPr lang="en-GB" noProof="0" dirty="0"/>
            </a:br>
            <a:r>
              <a:rPr lang="en-CH" noProof="0" dirty="0"/>
              <a:t>with customer logo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Welcome &amp; introduction of bbv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Proposed solution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Approach, method and deadlines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Collaboration model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Offer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Offer benefits incl. references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Next agenda topic</a:t>
            </a:r>
          </a:p>
          <a:p>
            <a:pPr lvl="1"/>
            <a:r>
              <a:rPr lang="en-GB"/>
              <a:t>First name Last nam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32701C6D-3382-3F63-8981-0BC9E4E5867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0154" r="30154"/>
          <a:stretch/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Welcome &amp; introduction of bbv</a:t>
            </a:r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  <a:p>
            <a:r>
              <a:rPr lang="en-GB" noProof="0" dirty="0"/>
              <a:t>Proposed solution</a:t>
            </a:r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  <a:p>
            <a:r>
              <a:rPr lang="en-GB" noProof="0" dirty="0"/>
              <a:t>Approach, method and deadlines</a:t>
            </a:r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  <a:p>
            <a:r>
              <a:rPr lang="en-GB" noProof="0" dirty="0"/>
              <a:t>Collaboration model</a:t>
            </a:r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  <a:p>
            <a:r>
              <a:rPr lang="en-GB" noProof="0"/>
              <a:t>Offer</a:t>
            </a:r>
            <a:endParaRPr lang="en-GB" noProof="0" dirty="0"/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  <a:p>
            <a:r>
              <a:rPr lang="en-GB" noProof="0" dirty="0"/>
              <a:t>Offer benefits incl. references</a:t>
            </a:r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  <a:p>
            <a:r>
              <a:rPr lang="en-GB" noProof="0"/>
              <a:t>Next agenda topic</a:t>
            </a:r>
            <a:endParaRPr lang="en-GB" noProof="0" dirty="0"/>
          </a:p>
          <a:p>
            <a:pPr lvl="1"/>
            <a:r>
              <a:rPr lang="en-GB" noProof="0"/>
              <a:t>First name Last nam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genda (</a:t>
            </a:r>
            <a:r>
              <a:rPr lang="en-GB" dirty="0"/>
              <a:t>v</a:t>
            </a:r>
            <a:r>
              <a:rPr lang="en-GB" noProof="0" dirty="0" err="1"/>
              <a:t>ariant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E2FEC7DA-D08E-E536-490F-3B3799F99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9209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9" name="Object 58" hidden="1">
                        <a:extLst>
                          <a:ext uri="{FF2B5EF4-FFF2-40B4-BE49-F238E27FC236}">
                            <a16:creationId xmlns:a16="http://schemas.microsoft.com/office/drawing/2014/main" id="{E2FEC7DA-D08E-E536-490F-3B3799F99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6A02AA35-5C7A-7790-ADA4-B11F429ED8DC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24666" y="3812592"/>
            <a:ext cx="1440000" cy="1440000"/>
          </a:xfrm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D7000C73-3546-4552-0995-AEC17BBBD54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FC7E98AA-643F-DACF-9287-A54B896659A7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CAF93E-DE15-592B-8CCB-A396A63F7C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Christof Oberholz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4DD4D14-1D1A-DC2A-7F1C-BE7FA7910D2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Emre </a:t>
            </a:r>
            <a:r>
              <a:rPr lang="en-GB" dirty="0" err="1"/>
              <a:t>Özyur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960B59-BA3B-8607-86DF-F1CAA0AC58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Head of Business Area</a:t>
            </a:r>
          </a:p>
          <a:p>
            <a:r>
              <a:rPr lang="en-GB" dirty="0"/>
              <a:t>MedTech &amp; Healthcare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77487F-27B3-A0C5-7729-8FBED1D78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PM/PO-Proxy</a:t>
            </a:r>
          </a:p>
          <a:p>
            <a:r>
              <a:rPr lang="en-GB" dirty="0"/>
              <a:t>bbv Software Services AG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B264B31-318C-D084-3D37-AD49EF62F54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F8014A3B-4ED0-4B42-5704-E961FA7DEDC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6000" y="1531365"/>
            <a:ext cx="1440000" cy="1440000"/>
          </a:xfr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06656E6-8716-82AA-175D-54BE9ED55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Micha </a:t>
            </a:r>
            <a:r>
              <a:rPr lang="en-GB" dirty="0" err="1"/>
              <a:t>Brandenberger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A36663F-505A-28C7-4A8F-1CA09508CE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ICT &amp; Public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3653B8F-0943-E010-BD7E-73B66BC73B2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dirty="0"/>
              <a:t>Max Mus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0743B1A-3808-635C-0320-240D0B805F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55889" y="5797901"/>
            <a:ext cx="2772000" cy="630000"/>
          </a:xfrm>
        </p:spPr>
        <p:txBody>
          <a:bodyPr/>
          <a:lstStyle/>
          <a:p>
            <a:r>
              <a:rPr lang="en-GB" dirty="0"/>
              <a:t>Expert for digital workplace</a:t>
            </a:r>
          </a:p>
          <a:p>
            <a:r>
              <a:rPr lang="en-GB" dirty="0"/>
              <a:t>Member of the extended executive board</a:t>
            </a:r>
          </a:p>
          <a:p>
            <a:r>
              <a:rPr lang="en-GB" dirty="0"/>
              <a:t>ABC AG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3DB008A-5183-3EC5-D085-F81DFF1FBBF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GB" dirty="0"/>
              <a:t>Marie Tout-le-mond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3087634-9BB1-5910-1BB5-CD2471D5C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GB" dirty="0"/>
              <a:t>Project Manager</a:t>
            </a:r>
          </a:p>
          <a:p>
            <a:r>
              <a:rPr lang="en-GB" dirty="0"/>
              <a:t>ABC A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E75CB7-BD31-2F04-72CE-CB240FEC4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articipant introduction (5 people)</a:t>
            </a:r>
          </a:p>
        </p:txBody>
      </p:sp>
    </p:spTree>
    <p:extLst>
      <p:ext uri="{BB962C8B-B14F-4D97-AF65-F5344CB8AC3E}">
        <p14:creationId xmlns:p14="http://schemas.microsoft.com/office/powerpoint/2010/main" val="1063677109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25A538BA-FD95-62E8-CB61-DE7C604C5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15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25A538BA-FD95-62E8-CB61-DE7C604C58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B264B31-318C-D084-3D37-AD49EF62F54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F8014A3B-4ED0-4B42-5704-E961FA7DEDC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29690" y="1531365"/>
            <a:ext cx="1440000" cy="1440000"/>
          </a:xfrm>
        </p:spPr>
      </p:pic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2DED9AD6-4D2B-53D5-E4B0-EAC45C32D8A8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CAF93E-DE15-592B-8CCB-A396A63F7C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Martin Egloff</a:t>
            </a:r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4DD4D14-1D1A-DC2A-7F1C-BE7FA7910D2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Emre </a:t>
            </a:r>
            <a:r>
              <a:rPr lang="en-GB" dirty="0" err="1"/>
              <a:t>Özyur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960B59-BA3B-8607-86DF-F1CAA0AC58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MedTech &amp; Healthcare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77487F-27B3-A0C5-7729-8FBED1D78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PM/PO-Proxy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9F5152D-641B-3D1D-3968-2369F644F1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Christof Oberholzer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8397965-A232-A992-5945-D07D997F12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MedTech &amp; Healthcare</a:t>
            </a:r>
          </a:p>
          <a:p>
            <a:r>
              <a:rPr lang="en-GB" dirty="0"/>
              <a:t>bbv Software Services AG</a:t>
            </a:r>
          </a:p>
        </p:txBody>
      </p:sp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4E5382CC-7AFF-439E-9A2F-1E79B0519211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B82C34D-5022-AFB7-0B7A-F6F8BAEBD79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dirty="0"/>
              <a:t>Micha </a:t>
            </a:r>
            <a:r>
              <a:rPr lang="en-GB" dirty="0" err="1"/>
              <a:t>Brandenberger</a:t>
            </a:r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9448311-86BA-8A82-5E2B-E18C54E4BD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ICT &amp; Public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D3E31B-4ACA-A311-DC9C-DD90EA124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articipant introduction (4 people)</a:t>
            </a:r>
          </a:p>
        </p:txBody>
      </p:sp>
    </p:spTree>
    <p:extLst>
      <p:ext uri="{BB962C8B-B14F-4D97-AF65-F5344CB8AC3E}">
        <p14:creationId xmlns:p14="http://schemas.microsoft.com/office/powerpoint/2010/main" val="1752160671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0592E4F4-4BE3-6195-43B6-D92C31CEA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76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0592E4F4-4BE3-6195-43B6-D92C31CEA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FC7E98AA-643F-DACF-9287-A54B896659A7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CAF93E-DE15-592B-8CCB-A396A63F7C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Martin Egloff</a:t>
            </a:r>
          </a:p>
          <a:p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CE8228C-7564-6AF5-72C5-26CB16D85D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Christof Oberholz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960B59-BA3B-8607-86DF-F1CAA0AC58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MedTech &amp; Healthcare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1EC5EF8D-55C0-297A-D2AB-9C9AFFC622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MedTech &amp; Healthcare</a:t>
            </a:r>
          </a:p>
          <a:p>
            <a:r>
              <a:rPr lang="en-GB" dirty="0"/>
              <a:t>bbv Software Services AG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B264B31-318C-D084-3D37-AD49EF62F54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3731C903-0A41-7606-C670-5B34D67AF34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" b="55"/>
          <a:stretch/>
        </p:blipFill>
        <p:spPr/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06656E6-8716-82AA-175D-54BE9ED55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Micha </a:t>
            </a:r>
            <a:r>
              <a:rPr lang="en-GB" dirty="0" err="1"/>
              <a:t>Brandenberger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A36663F-505A-28C7-4A8F-1CA09508CE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ICT &amp; Public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7F4B7-798B-8D6A-9DD0-798D172FF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ticipant introduction (3 people)</a:t>
            </a:r>
          </a:p>
        </p:txBody>
      </p:sp>
    </p:spTree>
    <p:extLst>
      <p:ext uri="{BB962C8B-B14F-4D97-AF65-F5344CB8AC3E}">
        <p14:creationId xmlns:p14="http://schemas.microsoft.com/office/powerpoint/2010/main" val="1124206604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FD0650E0-897B-B75E-A6E8-353A3089A2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147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FD0650E0-897B-B75E-A6E8-353A3089A2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CAF93E-DE15-592B-8CCB-A396A63F7C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Martin Egloff</a:t>
            </a:r>
          </a:p>
          <a:p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D549F38-1374-1E9B-21FC-97878CBC86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Micha </a:t>
            </a:r>
            <a:r>
              <a:rPr lang="en-GB" dirty="0" err="1"/>
              <a:t>Brandenberger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960B59-BA3B-8607-86DF-F1CAA0AC58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MedTech &amp; Healthcare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FD6B7F4-511B-E0E3-A544-7BA0BA85520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ICT &amp; Public</a:t>
            </a:r>
          </a:p>
          <a:p>
            <a:r>
              <a:rPr lang="en-GB" dirty="0"/>
              <a:t>bbv Software Services AG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5B264B31-318C-D084-3D37-AD49EF62F54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3F4D6011-D0CF-2124-4D5B-B2C0BC973B8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591A8E-0A72-25D1-811B-41593422A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ticipant introduction (2 people)</a:t>
            </a:r>
          </a:p>
        </p:txBody>
      </p:sp>
    </p:spTree>
    <p:extLst>
      <p:ext uri="{BB962C8B-B14F-4D97-AF65-F5344CB8AC3E}">
        <p14:creationId xmlns:p14="http://schemas.microsoft.com/office/powerpoint/2010/main" val="558633522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C7D4D2B-585E-45DE-34D4-1631B8B8D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C7D4D2B-585E-45DE-34D4-1631B8B8D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76427BB-4EA4-7ACF-C66F-745615FAB0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223" y="722993"/>
            <a:ext cx="11499457" cy="600651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C680A29-C59C-1CCF-0418-FB37DC06D561}"/>
              </a:ext>
            </a:extLst>
          </p:cNvPr>
          <p:cNvSpPr/>
          <p:nvPr/>
        </p:nvSpPr>
        <p:spPr>
          <a:xfrm>
            <a:off x="2802965" y="1978212"/>
            <a:ext cx="8289364" cy="4751294"/>
          </a:xfrm>
          <a:prstGeom prst="rect">
            <a:avLst/>
          </a:prstGeom>
          <a:noFill/>
          <a:ln>
            <a:solidFill>
              <a:srgbClr val="F5AD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BFAAEB-1A11-50E8-EDF0-69AB6B9BF348}"/>
              </a:ext>
            </a:extLst>
          </p:cNvPr>
          <p:cNvSpPr txBox="1"/>
          <p:nvPr/>
        </p:nvSpPr>
        <p:spPr>
          <a:xfrm>
            <a:off x="5414683" y="1607671"/>
            <a:ext cx="3460376" cy="370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uggested folder/file</a:t>
            </a:r>
          </a:p>
        </p:txBody>
      </p:sp>
    </p:spTree>
    <p:extLst>
      <p:ext uri="{BB962C8B-B14F-4D97-AF65-F5344CB8AC3E}">
        <p14:creationId xmlns:p14="http://schemas.microsoft.com/office/powerpoint/2010/main" val="2308516208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0906D8A-F198-F5DC-3B3C-447BDC4927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6CF5F2F-7DE4-C6D3-45B2-05862518FAF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" b="70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7FD9ED4-2C94-6396-C069-EA39545E6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/>
              <a:t>bbv aims to help parties share their own needs and perceptions, understand those of other parties, and uncover «gaps».</a:t>
            </a:r>
          </a:p>
          <a:p>
            <a:r>
              <a:rPr lang="en-GB"/>
              <a:t>Expectations, form of contract</a:t>
            </a:r>
          </a:p>
          <a:p>
            <a:r>
              <a:rPr lang="en-GB"/>
              <a:t>Understanding collaboration, collaboration model</a:t>
            </a:r>
          </a:p>
          <a:p>
            <a:r>
              <a:rPr lang="en-GB"/>
              <a:t>Understanding roles, Scrum autonom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6372FF-2D39-5EAA-C159-D2E40B7469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Understan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5E60564-7D78-0EB3-849C-E33497FF8F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2355" y="2157413"/>
            <a:ext cx="3924931" cy="4270375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The parties work out improvements for further cooperation and measures for a successful product release in a moderated and responsible manner.</a:t>
            </a:r>
          </a:p>
          <a:p>
            <a:r>
              <a:rPr lang="en-GB"/>
              <a:t>How to make it better?</a:t>
            </a:r>
          </a:p>
          <a:p>
            <a:r>
              <a:rPr lang="en-GB"/>
              <a:t>Define package for completion, possibly architecture assessment</a:t>
            </a:r>
          </a:p>
          <a:p>
            <a:r>
              <a:rPr lang="en-GB"/>
              <a:t>Measures to fulfill work packag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CBE395-64E6-D92E-FBDD-5FC3F723D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/>
              <a:t>Improv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A0547F-326C-9AA2-A1BD-CAA901FFA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2 columns of text, 1 image (1/4)</a:t>
            </a:r>
          </a:p>
        </p:txBody>
      </p:sp>
      <p:sp>
        <p:nvSpPr>
          <p:cNvPr id="2" name="Rectangle: Rounded Corners 1">
            <a:hlinkClick r:id="rId7"/>
            <a:extLst>
              <a:ext uri="{FF2B5EF4-FFF2-40B4-BE49-F238E27FC236}">
                <a16:creationId xmlns:a16="http://schemas.microsoft.com/office/drawing/2014/main" id="{4FCDDAA9-6E98-03AF-DA68-A73316ED5AEA}"/>
              </a:ext>
            </a:extLst>
          </p:cNvPr>
          <p:cNvSpPr/>
          <p:nvPr/>
        </p:nvSpPr>
        <p:spPr>
          <a:xfrm>
            <a:off x="4792355" y="5400000"/>
            <a:ext cx="1404000" cy="360000"/>
          </a:xfrm>
          <a:prstGeom prst="roundRect">
            <a:avLst>
              <a:gd name="adj" fmla="val 1975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" tIns="0" rIns="360000" bIns="3600" rtlCol="0" anchor="ctr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bg1"/>
                </a:solidFill>
              </a:rPr>
              <a:t>Learn more</a:t>
            </a:r>
            <a:endParaRPr lang="en-CH" sz="1400" dirty="0" err="1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CEB568B-F157-98EF-F4BB-34B1C96BE11D}"/>
              </a:ext>
            </a:extLst>
          </p:cNvPr>
          <p:cNvGrpSpPr/>
          <p:nvPr/>
        </p:nvGrpSpPr>
        <p:grpSpPr>
          <a:xfrm>
            <a:off x="5908355" y="5400000"/>
            <a:ext cx="360000" cy="432000"/>
            <a:chOff x="7632000" y="3420000"/>
            <a:chExt cx="360000" cy="432000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B80CAC22-7562-8151-2552-7BE2442E93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632000" y="3492000"/>
              <a:ext cx="360000" cy="360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2D131BB-AAA4-21F5-EC42-795E3FCA4448}"/>
                </a:ext>
              </a:extLst>
            </p:cNvPr>
            <p:cNvSpPr/>
            <p:nvPr/>
          </p:nvSpPr>
          <p:spPr>
            <a:xfrm>
              <a:off x="7632000" y="3420000"/>
              <a:ext cx="360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CH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416021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AF681D-F877-73DC-BA12-1EFA05A3A1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AF681D-F877-73DC-BA12-1EFA05A3A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EEB982C9-5DC2-C633-15C6-3CEFD62747E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243" r="30243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C9E6D4-637A-F87C-5E9B-6A0C347CEE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/>
              <a:t>Customer:</a:t>
            </a:r>
          </a:p>
          <a:p>
            <a:r>
              <a:rPr lang="en-GB"/>
              <a:t>Representative Steering Committee</a:t>
            </a:r>
          </a:p>
          <a:p>
            <a:r>
              <a:rPr lang="en-GB"/>
              <a:t>Project Owner, Project Manager</a:t>
            </a:r>
          </a:p>
          <a:p>
            <a:pPr marL="0" indent="0">
              <a:buNone/>
            </a:pPr>
            <a:r>
              <a:rPr lang="en-GB"/>
              <a:t>bbv:</a:t>
            </a:r>
          </a:p>
          <a:p>
            <a:r>
              <a:rPr lang="en-GB"/>
              <a:t>Senior Consultant</a:t>
            </a:r>
          </a:p>
          <a:p>
            <a:r>
              <a:rPr lang="en-GB"/>
              <a:t>Professional Consulta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1057B-64E8-E2AB-32A5-CFA84B4C9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Participa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94FAC6C-48CE-F802-385D-E9BB108A92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On site, week 22</a:t>
            </a:r>
          </a:p>
          <a:p>
            <a:r>
              <a:rPr lang="en-GB"/>
              <a:t>1-2 hours for steering committee</a:t>
            </a:r>
          </a:p>
          <a:p>
            <a:r>
              <a:rPr lang="en-GB"/>
              <a:t>2-3 hours for PO, P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B754A7-5248-A245-DC5D-76A318E0C9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/>
              <a:t>Effo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1F384B-D49C-4533-44A1-7A5A7DA79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2 columns of text, 1 image (1/4) – variant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EE09383-C268-0762-BE11-950A8EB29CD8}"/>
              </a:ext>
            </a:extLst>
          </p:cNvPr>
          <p:cNvSpPr txBox="1">
            <a:spLocks/>
          </p:cNvSpPr>
          <p:nvPr/>
        </p:nvSpPr>
        <p:spPr>
          <a:xfrm>
            <a:off x="442913" y="5376106"/>
            <a:ext cx="3903914" cy="1035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/>
              <a:t>Expectations of project partners</a:t>
            </a:r>
          </a:p>
          <a:p>
            <a:pPr marL="285750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/>
              <a:t>Expected vs. lived cooperation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A75D71C-EB23-68FE-171F-34D4F073195D}"/>
              </a:ext>
            </a:extLst>
          </p:cNvPr>
          <p:cNvSpPr txBox="1">
            <a:spLocks/>
          </p:cNvSpPr>
          <p:nvPr/>
        </p:nvSpPr>
        <p:spPr>
          <a:xfrm>
            <a:off x="442913" y="4728406"/>
            <a:ext cx="3903914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B53D832-C89E-BD1D-1926-5DC877AB089E}"/>
              </a:ext>
            </a:extLst>
          </p:cNvPr>
          <p:cNvSpPr txBox="1">
            <a:spLocks/>
          </p:cNvSpPr>
          <p:nvPr/>
        </p:nvSpPr>
        <p:spPr>
          <a:xfrm>
            <a:off x="4789740" y="5376106"/>
            <a:ext cx="3903916" cy="1035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Expectations</a:t>
            </a:r>
          </a:p>
          <a:p>
            <a:r>
              <a:rPr lang="en-GB"/>
              <a:t>Contract form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A5D2738A-3FD3-ADFA-D90A-C63BAAEF3B1F}"/>
              </a:ext>
            </a:extLst>
          </p:cNvPr>
          <p:cNvSpPr txBox="1">
            <a:spLocks/>
          </p:cNvSpPr>
          <p:nvPr/>
        </p:nvSpPr>
        <p:spPr>
          <a:xfrm>
            <a:off x="4789738" y="4728406"/>
            <a:ext cx="3903917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804071264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D53E623-2E5A-2C13-7963-0E9838DEA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D53E623-2E5A-2C13-7963-0E9838DEA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233109BA-26F3-111E-A298-4910E82FE29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2359" r="32359"/>
          <a:stretch/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39B71F-9D89-40A7-9E9B-599B5EF6AA7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A5EAFD-CDAD-CB6B-C61E-499ABB6E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1 column of text, 1 image (1/3)</a:t>
            </a:r>
          </a:p>
        </p:txBody>
      </p:sp>
      <p:sp>
        <p:nvSpPr>
          <p:cNvPr id="29" name="Inhaltsplatzhalter 1">
            <a:extLst>
              <a:ext uri="{FF2B5EF4-FFF2-40B4-BE49-F238E27FC236}">
                <a16:creationId xmlns:a16="http://schemas.microsoft.com/office/drawing/2014/main" id="{6F469A80-8B3C-E6AB-F0F0-41691BD47856}"/>
              </a:ext>
            </a:extLst>
          </p:cNvPr>
          <p:cNvSpPr txBox="1">
            <a:spLocks/>
          </p:cNvSpPr>
          <p:nvPr/>
        </p:nvSpPr>
        <p:spPr>
          <a:xfrm>
            <a:off x="1727998" y="1529998"/>
            <a:ext cx="596880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sz="2200" b="1" kern="0">
                <a:solidFill>
                  <a:schemeClr val="tx1"/>
                </a:solidFill>
                <a:latin typeface="+mn-lt"/>
              </a:rPr>
              <a:t>New architecture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EA3A5FBF-7EE0-9AEB-0498-DCE9B8AC4192}"/>
              </a:ext>
            </a:extLst>
          </p:cNvPr>
          <p:cNvSpPr txBox="1">
            <a:spLocks/>
          </p:cNvSpPr>
          <p:nvPr/>
        </p:nvSpPr>
        <p:spPr>
          <a:xfrm>
            <a:off x="1727997" y="2012552"/>
            <a:ext cx="5968803" cy="2348592"/>
          </a:xfrm>
          <a:prstGeom prst="rect">
            <a:avLst/>
          </a:prstGeom>
        </p:spPr>
        <p:txBody>
          <a:bodyPr wrap="square" lIns="0" tIns="0" rIns="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Latest technology (Web UI/Microservice backend)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Modular structure of the software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Modules can be used according to client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Legal possibilities are taken into account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Cloud enabled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Data security</a:t>
            </a:r>
          </a:p>
        </p:txBody>
      </p:sp>
      <p:sp>
        <p:nvSpPr>
          <p:cNvPr id="31" name="Inhaltsplatzhalter 1">
            <a:extLst>
              <a:ext uri="{FF2B5EF4-FFF2-40B4-BE49-F238E27FC236}">
                <a16:creationId xmlns:a16="http://schemas.microsoft.com/office/drawing/2014/main" id="{F8218CBB-C200-E8EF-B93B-63B96884D67E}"/>
              </a:ext>
            </a:extLst>
          </p:cNvPr>
          <p:cNvSpPr txBox="1">
            <a:spLocks/>
          </p:cNvSpPr>
          <p:nvPr/>
        </p:nvSpPr>
        <p:spPr>
          <a:xfrm>
            <a:off x="1727998" y="4822883"/>
            <a:ext cx="596880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sz="2200" b="1" kern="0">
                <a:solidFill>
                  <a:schemeClr val="tx1"/>
                </a:solidFill>
                <a:latin typeface="+mn-lt"/>
              </a:rPr>
              <a:t>More efficiency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6AB3E7AE-251E-F0D1-36E2-67846D86292E}"/>
              </a:ext>
            </a:extLst>
          </p:cNvPr>
          <p:cNvSpPr txBox="1">
            <a:spLocks/>
          </p:cNvSpPr>
          <p:nvPr/>
        </p:nvSpPr>
        <p:spPr>
          <a:xfrm>
            <a:off x="1727997" y="5305437"/>
            <a:ext cx="5968803" cy="1120563"/>
          </a:xfrm>
          <a:prstGeom prst="rect">
            <a:avLst/>
          </a:prstGeom>
        </p:spPr>
        <p:txBody>
          <a:bodyPr lIns="0" tIns="0" rIns="0" bIns="0" numCol="1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Scalability depending on data volume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New functions easily extendable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tx1"/>
                </a:solidFill>
                <a:latin typeface="+mn-lt"/>
              </a:rPr>
              <a:t>Optimized data storage and exchange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323A63E-ED61-7282-3CA7-051995DEC7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1529998"/>
            <a:ext cx="863999" cy="863999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D57B02A-606A-BB0B-F931-542BED3595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32000" y="4822883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55557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92DB2C1-905C-17B8-72EB-04AFFCFBA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92DB2C1-905C-17B8-72EB-04AFFCFBA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5AE5B66F-0E82-D4FB-5E13-BAE7314A350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23539" r="23539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35A2419-6612-6932-3D9B-20E686342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1 column of text, 1 image (1/2)</a:t>
            </a:r>
          </a:p>
        </p:txBody>
      </p:sp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14A6571E-0587-1E10-CAAE-907648CA4E6D}"/>
              </a:ext>
            </a:extLst>
          </p:cNvPr>
          <p:cNvSpPr txBox="1">
            <a:spLocks/>
          </p:cNvSpPr>
          <p:nvPr/>
        </p:nvSpPr>
        <p:spPr>
          <a:xfrm>
            <a:off x="1404000" y="1661501"/>
            <a:ext cx="426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Transition to modern technologies</a:t>
            </a: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8D2ABDE4-9D19-346F-2127-1ACA9B0A2E75}"/>
              </a:ext>
            </a:extLst>
          </p:cNvPr>
          <p:cNvSpPr txBox="1">
            <a:spLocks/>
          </p:cNvSpPr>
          <p:nvPr/>
        </p:nvSpPr>
        <p:spPr>
          <a:xfrm>
            <a:off x="1404002" y="2750501"/>
            <a:ext cx="425999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Further development without limits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19A9A2D8-6CBC-B573-3913-700EC09A82ED}"/>
              </a:ext>
            </a:extLst>
          </p:cNvPr>
          <p:cNvSpPr txBox="1">
            <a:spLocks/>
          </p:cNvSpPr>
          <p:nvPr/>
        </p:nvSpPr>
        <p:spPr>
          <a:xfrm>
            <a:off x="1404002" y="6017501"/>
            <a:ext cx="425999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Improve user experience</a:t>
            </a:r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BAAADA72-91E9-C35A-76EE-00F70E4B087F}"/>
              </a:ext>
            </a:extLst>
          </p:cNvPr>
          <p:cNvSpPr txBox="1">
            <a:spLocks/>
          </p:cNvSpPr>
          <p:nvPr/>
        </p:nvSpPr>
        <p:spPr>
          <a:xfrm>
            <a:off x="1404002" y="4928501"/>
            <a:ext cx="425999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100 times more quality</a:t>
            </a:r>
          </a:p>
        </p:txBody>
      </p:sp>
      <p:sp>
        <p:nvSpPr>
          <p:cNvPr id="27" name="Inhaltsplatzhalter 1">
            <a:extLst>
              <a:ext uri="{FF2B5EF4-FFF2-40B4-BE49-F238E27FC236}">
                <a16:creationId xmlns:a16="http://schemas.microsoft.com/office/drawing/2014/main" id="{AEB35F49-B5AA-2720-B45F-385B57F7AE1B}"/>
              </a:ext>
            </a:extLst>
          </p:cNvPr>
          <p:cNvSpPr txBox="1">
            <a:spLocks/>
          </p:cNvSpPr>
          <p:nvPr/>
        </p:nvSpPr>
        <p:spPr>
          <a:xfrm>
            <a:off x="1404002" y="3839501"/>
            <a:ext cx="425999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Accelerate time-to-market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CD02339-1107-4E3C-78F3-6E50F6B946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44702" y="2619000"/>
            <a:ext cx="540000" cy="540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237CCC53-6674-045E-DB49-136EBF7C19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44702" y="3708000"/>
            <a:ext cx="540000" cy="540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EEF4CD6-9757-0934-043A-0546A0756A1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44702" y="4797000"/>
            <a:ext cx="540000" cy="5400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91F4FCFB-65F6-8C30-C429-45CD209262B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44702" y="1530000"/>
            <a:ext cx="540000" cy="5400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B2889D19-5EB4-DEC7-8638-D18C8A4E809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444702" y="5886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84187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DB368C-E1CC-C4F4-A629-5D0FFFAB19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DB368C-E1CC-C4F4-A629-5D0FFFAB19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CC59D5-7CF8-13D8-901B-5D8D93C68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Text – </a:t>
            </a:r>
            <a:r>
              <a:rPr lang="en-GB" dirty="0"/>
              <a:t>v</a:t>
            </a:r>
            <a:r>
              <a:rPr lang="en-GB" noProof="0" dirty="0" err="1"/>
              <a:t>ariant</a:t>
            </a:r>
            <a:endParaRPr lang="en-GB" noProof="0" dirty="0"/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FA086C9C-5886-092E-3F15-FC8CEAB6FBAA}"/>
              </a:ext>
            </a:extLst>
          </p:cNvPr>
          <p:cNvSpPr txBox="1">
            <a:spLocks/>
          </p:cNvSpPr>
          <p:nvPr/>
        </p:nvSpPr>
        <p:spPr>
          <a:xfrm>
            <a:off x="432000" y="1529998"/>
            <a:ext cx="136800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sz="2200" b="1" kern="0">
                <a:solidFill>
                  <a:schemeClr val="tx1"/>
                </a:solidFill>
                <a:latin typeface="+mn-lt"/>
              </a:rPr>
              <a:t>Topics</a:t>
            </a:r>
            <a:endParaRPr lang="en-GB" sz="2200" b="1" kern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C13454B-43A6-01AF-0EBA-8B7C9C0157DB}"/>
              </a:ext>
            </a:extLst>
          </p:cNvPr>
          <p:cNvSpPr txBox="1">
            <a:spLocks/>
          </p:cNvSpPr>
          <p:nvPr/>
        </p:nvSpPr>
        <p:spPr>
          <a:xfrm>
            <a:off x="2232000" y="1530001"/>
            <a:ext cx="9528000" cy="1228028"/>
          </a:xfrm>
          <a:prstGeom prst="rect">
            <a:avLst/>
          </a:prstGeom>
        </p:spPr>
        <p:txBody>
          <a:bodyPr lIns="0" tIns="0" rIns="0" bIns="0" numCol="3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Internet of Things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 err="1">
                <a:solidFill>
                  <a:schemeClr val="tx1"/>
                </a:solidFill>
                <a:latin typeface="+mn-lt"/>
              </a:rPr>
              <a:t>Industr</a:t>
            </a:r>
            <a:r>
              <a:rPr lang="en-CH" kern="0" dirty="0">
                <a:solidFill>
                  <a:schemeClr val="tx1"/>
                </a:solidFill>
                <a:latin typeface="+mn-lt"/>
              </a:rPr>
              <a:t>y</a:t>
            </a:r>
            <a:r>
              <a:rPr lang="en-GB" kern="0" dirty="0">
                <a:solidFill>
                  <a:schemeClr val="tx1"/>
                </a:solidFill>
                <a:latin typeface="+mn-lt"/>
              </a:rPr>
              <a:t> 4.0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Leanness &amp; Agility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DevOps &amp; ALM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Data Science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Ecosystems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Blockchain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...</a:t>
            </a:r>
          </a:p>
          <a:p>
            <a:pPr marL="270000" indent="-270000"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endParaRPr lang="en-GB" kern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8A9B8941-85AF-C2AF-552F-F87A4392E05E}"/>
              </a:ext>
            </a:extLst>
          </p:cNvPr>
          <p:cNvSpPr txBox="1">
            <a:spLocks/>
          </p:cNvSpPr>
          <p:nvPr/>
        </p:nvSpPr>
        <p:spPr>
          <a:xfrm>
            <a:off x="432000" y="4626000"/>
            <a:ext cx="13680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sz="2200" b="1" kern="0">
                <a:solidFill>
                  <a:schemeClr val="tx1"/>
                </a:solidFill>
                <a:latin typeface="+mn-lt"/>
              </a:rPr>
              <a:t>Modular structure</a:t>
            </a:r>
            <a:endParaRPr lang="en-GB" sz="2200" b="1" kern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D1713F38-95E1-8123-DAB7-F5F6E2899CC7}"/>
              </a:ext>
            </a:extLst>
          </p:cNvPr>
          <p:cNvSpPr txBox="1">
            <a:spLocks/>
          </p:cNvSpPr>
          <p:nvPr/>
        </p:nvSpPr>
        <p:spPr>
          <a:xfrm>
            <a:off x="2231999" y="4626000"/>
            <a:ext cx="9527999" cy="1800000"/>
          </a:xfrm>
          <a:prstGeom prst="rect">
            <a:avLst/>
          </a:prstGeom>
        </p:spPr>
        <p:txBody>
          <a:bodyPr lIns="0" tIns="0" rIns="0" bIns="0" numCol="3" spcCol="21600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«Overview»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Get </a:t>
            </a:r>
            <a:r>
              <a:rPr lang="en-GB" kern="0" dirty="0">
                <a:solidFill>
                  <a:schemeClr val="tx1"/>
                </a:solidFill>
                <a:latin typeface="+mn-lt"/>
              </a:rPr>
              <a:t>an overview of the technology or concept</a:t>
            </a:r>
            <a:r>
              <a:rPr lang="en-GB" kern="0">
                <a:solidFill>
                  <a:schemeClr val="tx1"/>
                </a:solidFill>
                <a:latin typeface="+mn-lt"/>
              </a:rPr>
              <a:t>; 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how </a:t>
            </a:r>
            <a:r>
              <a:rPr lang="en-GB" kern="0" dirty="0">
                <a:solidFill>
                  <a:schemeClr val="tx1"/>
                </a:solidFill>
                <a:latin typeface="+mn-lt"/>
              </a:rPr>
              <a:t>to use </a:t>
            </a:r>
            <a:r>
              <a:rPr lang="en-GB" kern="0">
                <a:solidFill>
                  <a:schemeClr val="tx1"/>
                </a:solidFill>
                <a:latin typeface="+mn-lt"/>
              </a:rPr>
              <a:t>it successfully.</a:t>
            </a: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</a:pPr>
            <a:endParaRPr lang="en-GB" kern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«Exploration»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Develop </a:t>
            </a:r>
            <a:r>
              <a:rPr lang="en-GB" kern="0" dirty="0">
                <a:solidFill>
                  <a:schemeClr val="tx1"/>
                </a:solidFill>
                <a:latin typeface="+mn-lt"/>
              </a:rPr>
              <a:t>promising ideas; identify potentials; </a:t>
            </a:r>
            <a:r>
              <a:rPr lang="en-GB" kern="0">
                <a:solidFill>
                  <a:schemeClr val="tx1"/>
                </a:solidFill>
                <a:latin typeface="+mn-lt"/>
              </a:rPr>
              <a:t>create 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idea </a:t>
            </a:r>
            <a:r>
              <a:rPr lang="en-GB" kern="0" dirty="0">
                <a:solidFill>
                  <a:schemeClr val="tx1"/>
                </a:solidFill>
                <a:latin typeface="+mn-lt"/>
              </a:rPr>
              <a:t>ranking </a:t>
            </a:r>
            <a:r>
              <a:rPr lang="en-GB" kern="0">
                <a:solidFill>
                  <a:schemeClr val="tx1"/>
                </a:solidFill>
                <a:latin typeface="+mn-lt"/>
              </a:rPr>
              <a:t>list.</a:t>
            </a: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</a:pPr>
            <a:endParaRPr lang="en-GB" kern="0">
              <a:solidFill>
                <a:schemeClr val="tx1"/>
              </a:solidFill>
              <a:latin typeface="+mn-lt"/>
            </a:endParaRPr>
          </a:p>
          <a:p>
            <a:pPr algn="l" defTabSz="91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333333"/>
              </a:buClr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«Consolidation»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Concretize </a:t>
            </a:r>
            <a:r>
              <a:rPr lang="en-GB" kern="0" dirty="0">
                <a:solidFill>
                  <a:schemeClr val="tx1"/>
                </a:solidFill>
                <a:latin typeface="+mn-lt"/>
              </a:rPr>
              <a:t>the best ideas; develop business </a:t>
            </a:r>
            <a:r>
              <a:rPr lang="en-GB" kern="0">
                <a:solidFill>
                  <a:schemeClr val="tx1"/>
                </a:solidFill>
                <a:latin typeface="+mn-lt"/>
              </a:rPr>
              <a:t>cases.</a:t>
            </a:r>
            <a:endParaRPr lang="en-GB" kern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67B2AC7-0514-A218-4CFA-2446C43F13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32323" y="3610311"/>
            <a:ext cx="720000" cy="720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5509C1-5792-6E83-7DAD-BD5A8DC810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86569" y="3610311"/>
            <a:ext cx="960000" cy="720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F471D75-A109-0253-C6C0-CCE2C1EF67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36806" y="3610311"/>
            <a:ext cx="1296000" cy="720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5A8B039-6D4F-21D1-68F0-029D6471929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09446" y="3610311"/>
            <a:ext cx="720000" cy="720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94BBD38A-9E2C-D704-6F1D-388450FDB3C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31688" y="361031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4876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689582-8564-CF28-4844-25AE6F3843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2161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689582-8564-CF28-4844-25AE6F3843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ED828F-A379-2EF3-E14E-A2907B666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duct development procedure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ED863B8D-2A43-F38E-2305-AC411C30B77E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1299374" cy="3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CH" kern="0" dirty="0">
                <a:solidFill>
                  <a:schemeClr val="bg1"/>
                </a:solidFill>
                <a:latin typeface="+mn-lt"/>
              </a:rPr>
              <a:t>Stage</a:t>
            </a:r>
            <a:endParaRPr lang="en-GB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56BEEFEB-42DB-C782-B7D6-2F36B92F50CB}"/>
              </a:ext>
            </a:extLst>
          </p:cNvPr>
          <p:cNvSpPr/>
          <p:nvPr/>
        </p:nvSpPr>
        <p:spPr>
          <a:xfrm>
            <a:off x="1800000" y="1530000"/>
            <a:ext cx="2610000" cy="360000"/>
          </a:xfrm>
          <a:prstGeom prst="homePlate">
            <a:avLst/>
          </a:prstGeom>
          <a:solidFill>
            <a:schemeClr val="tx2"/>
          </a:solidFill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GB" sz="1800">
                <a:solidFill>
                  <a:schemeClr val="bg1"/>
                </a:solidFill>
              </a:rPr>
              <a:t>Fundamentals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5064D466-0B37-6E27-BDA5-EA2A1584B2AE}"/>
              </a:ext>
            </a:extLst>
          </p:cNvPr>
          <p:cNvSpPr/>
          <p:nvPr/>
        </p:nvSpPr>
        <p:spPr>
          <a:xfrm>
            <a:off x="4309200" y="1530000"/>
            <a:ext cx="2610000" cy="360000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800">
                <a:solidFill>
                  <a:schemeClr val="bg1"/>
                </a:solidFill>
              </a:rPr>
              <a:t>Exploration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BEFA7CD6-0599-BBF4-D79F-CA68D6F72284}"/>
              </a:ext>
            </a:extLst>
          </p:cNvPr>
          <p:cNvSpPr/>
          <p:nvPr/>
        </p:nvSpPr>
        <p:spPr>
          <a:xfrm>
            <a:off x="6814800" y="1530000"/>
            <a:ext cx="2610000" cy="360000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800">
                <a:solidFill>
                  <a:schemeClr val="bg1"/>
                </a:solidFill>
              </a:rPr>
              <a:t>Pilot</a:t>
            </a: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EA600369-D120-A2D7-BF3B-4758019045DD}"/>
              </a:ext>
            </a:extLst>
          </p:cNvPr>
          <p:cNvSpPr/>
          <p:nvPr/>
        </p:nvSpPr>
        <p:spPr>
          <a:xfrm>
            <a:off x="9324000" y="1530000"/>
            <a:ext cx="2610000" cy="360000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800">
                <a:solidFill>
                  <a:schemeClr val="bg1"/>
                </a:solidFill>
              </a:rPr>
              <a:t>Product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1B737BB2-C314-4F6B-AAE0-AD6317390596}"/>
              </a:ext>
            </a:extLst>
          </p:cNvPr>
          <p:cNvSpPr txBox="1">
            <a:spLocks/>
          </p:cNvSpPr>
          <p:nvPr/>
        </p:nvSpPr>
        <p:spPr>
          <a:xfrm>
            <a:off x="428626" y="1962000"/>
            <a:ext cx="1299374" cy="36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bg1"/>
                </a:solidFill>
                <a:latin typeface="+mn-lt"/>
              </a:rPr>
              <a:t>Duration</a:t>
            </a:r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1E5FB83A-AC78-0470-FADC-8A590CB3B4FA}"/>
              </a:ext>
            </a:extLst>
          </p:cNvPr>
          <p:cNvSpPr txBox="1">
            <a:spLocks/>
          </p:cNvSpPr>
          <p:nvPr/>
        </p:nvSpPr>
        <p:spPr>
          <a:xfrm>
            <a:off x="1800000" y="1962000"/>
            <a:ext cx="2437200" cy="360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1–2 days</a:t>
            </a:r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81CA83C0-E238-16C7-1212-0DADB6124B4B}"/>
              </a:ext>
            </a:extLst>
          </p:cNvPr>
          <p:cNvSpPr txBox="1">
            <a:spLocks/>
          </p:cNvSpPr>
          <p:nvPr/>
        </p:nvSpPr>
        <p:spPr>
          <a:xfrm>
            <a:off x="4309200" y="1962000"/>
            <a:ext cx="2437200" cy="360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1–2 months</a:t>
            </a:r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A0C6C1D1-2C69-7BEE-17B0-5A33DDFC6AC0}"/>
              </a:ext>
            </a:extLst>
          </p:cNvPr>
          <p:cNvSpPr txBox="1">
            <a:spLocks/>
          </p:cNvSpPr>
          <p:nvPr/>
        </p:nvSpPr>
        <p:spPr>
          <a:xfrm>
            <a:off x="6814800" y="1962000"/>
            <a:ext cx="2437200" cy="360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3–9 months</a:t>
            </a:r>
          </a:p>
        </p:txBody>
      </p:sp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14F4C549-D29D-0178-42DF-E2495F7C8585}"/>
              </a:ext>
            </a:extLst>
          </p:cNvPr>
          <p:cNvSpPr txBox="1">
            <a:spLocks/>
          </p:cNvSpPr>
          <p:nvPr/>
        </p:nvSpPr>
        <p:spPr>
          <a:xfrm>
            <a:off x="9324000" y="1962000"/>
            <a:ext cx="2437200" cy="360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Years</a:t>
            </a: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35C00311-B69F-85FE-BB80-B0F33DFDA081}"/>
              </a:ext>
            </a:extLst>
          </p:cNvPr>
          <p:cNvSpPr txBox="1">
            <a:spLocks/>
          </p:cNvSpPr>
          <p:nvPr/>
        </p:nvSpPr>
        <p:spPr>
          <a:xfrm>
            <a:off x="428626" y="2394000"/>
            <a:ext cx="1299374" cy="828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0" bIns="36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bg1"/>
                </a:solidFill>
                <a:latin typeface="+mn-lt"/>
              </a:rPr>
              <a:t>Activities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A60637-4276-434B-9B8D-8C8113D0EE98}"/>
              </a:ext>
            </a:extLst>
          </p:cNvPr>
          <p:cNvSpPr txBox="1">
            <a:spLocks/>
          </p:cNvSpPr>
          <p:nvPr/>
        </p:nvSpPr>
        <p:spPr>
          <a:xfrm>
            <a:off x="1800000" y="2393999"/>
            <a:ext cx="2437200" cy="8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Thematic introduction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hallenge workshop</a:t>
            </a:r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F7219A73-5648-D8B4-02AA-7D460632AE49}"/>
              </a:ext>
            </a:extLst>
          </p:cNvPr>
          <p:cNvSpPr txBox="1">
            <a:spLocks/>
          </p:cNvSpPr>
          <p:nvPr/>
        </p:nvSpPr>
        <p:spPr>
          <a:xfrm>
            <a:off x="4309200" y="2393999"/>
            <a:ext cx="2437200" cy="8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Service Design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rototyping, UX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rchitecture workshop</a:t>
            </a:r>
          </a:p>
        </p:txBody>
      </p:sp>
      <p:sp>
        <p:nvSpPr>
          <p:cNvPr id="27" name="Inhaltsplatzhalter 1">
            <a:extLst>
              <a:ext uri="{FF2B5EF4-FFF2-40B4-BE49-F238E27FC236}">
                <a16:creationId xmlns:a16="http://schemas.microsoft.com/office/drawing/2014/main" id="{253337EA-F295-E1EB-F108-4CB10214E7DC}"/>
              </a:ext>
            </a:extLst>
          </p:cNvPr>
          <p:cNvSpPr txBox="1">
            <a:spLocks/>
          </p:cNvSpPr>
          <p:nvPr/>
        </p:nvSpPr>
        <p:spPr>
          <a:xfrm>
            <a:off x="6814800" y="2394000"/>
            <a:ext cx="2437200" cy="8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Lean Development</a:t>
            </a:r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4B778509-EDCB-9ED6-7578-F334E9F82D5C}"/>
              </a:ext>
            </a:extLst>
          </p:cNvPr>
          <p:cNvSpPr txBox="1">
            <a:spLocks/>
          </p:cNvSpPr>
          <p:nvPr/>
        </p:nvSpPr>
        <p:spPr>
          <a:xfrm>
            <a:off x="9324000" y="2394000"/>
            <a:ext cx="2437200" cy="8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gile Development</a:t>
            </a:r>
          </a:p>
        </p:txBody>
      </p:sp>
      <p:sp>
        <p:nvSpPr>
          <p:cNvPr id="29" name="Inhaltsplatzhalter 1">
            <a:extLst>
              <a:ext uri="{FF2B5EF4-FFF2-40B4-BE49-F238E27FC236}">
                <a16:creationId xmlns:a16="http://schemas.microsoft.com/office/drawing/2014/main" id="{62FFD536-71FD-AB7E-3965-8895B5FC270B}"/>
              </a:ext>
            </a:extLst>
          </p:cNvPr>
          <p:cNvSpPr txBox="1">
            <a:spLocks/>
          </p:cNvSpPr>
          <p:nvPr/>
        </p:nvSpPr>
        <p:spPr>
          <a:xfrm>
            <a:off x="428626" y="3293998"/>
            <a:ext cx="1299374" cy="1332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0" bIns="36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bg1"/>
                </a:solidFill>
                <a:latin typeface="+mn-lt"/>
              </a:rPr>
              <a:t>Rolls</a:t>
            </a:r>
          </a:p>
        </p:txBody>
      </p:sp>
      <p:sp>
        <p:nvSpPr>
          <p:cNvPr id="30" name="Inhaltsplatzhalter 1">
            <a:extLst>
              <a:ext uri="{FF2B5EF4-FFF2-40B4-BE49-F238E27FC236}">
                <a16:creationId xmlns:a16="http://schemas.microsoft.com/office/drawing/2014/main" id="{E5BE6BD8-6023-E765-A581-2A41E82903F8}"/>
              </a:ext>
            </a:extLst>
          </p:cNvPr>
          <p:cNvSpPr txBox="1">
            <a:spLocks/>
          </p:cNvSpPr>
          <p:nvPr/>
        </p:nvSpPr>
        <p:spPr>
          <a:xfrm>
            <a:off x="1800000" y="3293997"/>
            <a:ext cx="2437200" cy="1332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onsultant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RE / UX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L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ML / AM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rchitect / Eng. / QS</a:t>
            </a:r>
          </a:p>
        </p:txBody>
      </p:sp>
      <p:sp>
        <p:nvSpPr>
          <p:cNvPr id="31" name="Inhaltsplatzhalter 1">
            <a:extLst>
              <a:ext uri="{FF2B5EF4-FFF2-40B4-BE49-F238E27FC236}">
                <a16:creationId xmlns:a16="http://schemas.microsoft.com/office/drawing/2014/main" id="{9F455877-6E59-31D8-6750-A8CBB6ED6264}"/>
              </a:ext>
            </a:extLst>
          </p:cNvPr>
          <p:cNvSpPr txBox="1">
            <a:spLocks/>
          </p:cNvSpPr>
          <p:nvPr/>
        </p:nvSpPr>
        <p:spPr>
          <a:xfrm>
            <a:off x="4309200" y="3293997"/>
            <a:ext cx="2437200" cy="1332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onsultant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RE / UX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L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ML / AM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rchitect / Eng. / QS</a:t>
            </a:r>
          </a:p>
        </p:txBody>
      </p:sp>
      <p:sp>
        <p:nvSpPr>
          <p:cNvPr id="32" name="Inhaltsplatzhalter 1">
            <a:extLst>
              <a:ext uri="{FF2B5EF4-FFF2-40B4-BE49-F238E27FC236}">
                <a16:creationId xmlns:a16="http://schemas.microsoft.com/office/drawing/2014/main" id="{EF95E85E-9BE2-35DD-23F9-DB2CA4FF183F}"/>
              </a:ext>
            </a:extLst>
          </p:cNvPr>
          <p:cNvSpPr txBox="1">
            <a:spLocks/>
          </p:cNvSpPr>
          <p:nvPr/>
        </p:nvSpPr>
        <p:spPr>
          <a:xfrm>
            <a:off x="6814800" y="3293998"/>
            <a:ext cx="2437200" cy="1332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onsultant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RE / UX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L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ML / AM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rchitect / Eng. / QS</a:t>
            </a:r>
          </a:p>
        </p:txBody>
      </p:sp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CBD138A8-A684-1317-6E5B-55D69C4A4E86}"/>
              </a:ext>
            </a:extLst>
          </p:cNvPr>
          <p:cNvSpPr txBox="1">
            <a:spLocks/>
          </p:cNvSpPr>
          <p:nvPr/>
        </p:nvSpPr>
        <p:spPr>
          <a:xfrm>
            <a:off x="9324000" y="3293998"/>
            <a:ext cx="2437200" cy="1332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onsultant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RE / UX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L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ML / AM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rchitect / Eng. / QS</a:t>
            </a:r>
          </a:p>
        </p:txBody>
      </p: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D3861E5B-646A-D14C-F4BF-7B799B2648C8}"/>
              </a:ext>
            </a:extLst>
          </p:cNvPr>
          <p:cNvSpPr txBox="1">
            <a:spLocks/>
          </p:cNvSpPr>
          <p:nvPr/>
        </p:nvSpPr>
        <p:spPr>
          <a:xfrm>
            <a:off x="428626" y="4697995"/>
            <a:ext cx="1299374" cy="1728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0" bIns="36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bg1"/>
                </a:solidFill>
                <a:latin typeface="+mn-lt"/>
              </a:rPr>
              <a:t>Results</a:t>
            </a:r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A21D9FBF-0DCA-4F71-4459-799BDB6F0D47}"/>
              </a:ext>
            </a:extLst>
          </p:cNvPr>
          <p:cNvSpPr txBox="1">
            <a:spLocks/>
          </p:cNvSpPr>
          <p:nvPr/>
        </p:nvSpPr>
        <p:spPr>
          <a:xfrm>
            <a:off x="1800000" y="4697995"/>
            <a:ext cx="2437200" cy="17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roduct vision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ommon understanding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ersonas &amp; system context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Requirements &amp; risk management</a:t>
            </a:r>
          </a:p>
        </p:txBody>
      </p:sp>
      <p:sp>
        <p:nvSpPr>
          <p:cNvPr id="36" name="Inhaltsplatzhalter 1">
            <a:extLst>
              <a:ext uri="{FF2B5EF4-FFF2-40B4-BE49-F238E27FC236}">
                <a16:creationId xmlns:a16="http://schemas.microsoft.com/office/drawing/2014/main" id="{F225E9CF-86BD-E478-AE6A-A5D54E23E1B1}"/>
              </a:ext>
            </a:extLst>
          </p:cNvPr>
          <p:cNvSpPr txBox="1">
            <a:spLocks/>
          </p:cNvSpPr>
          <p:nvPr/>
        </p:nvSpPr>
        <p:spPr>
          <a:xfrm>
            <a:off x="4309200" y="4697995"/>
            <a:ext cx="2437200" cy="1728005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α-customer Feedback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Value proposition &amp; business model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oC (internal expertise)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Architecture blueprint &amp; technology stack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rocedure &amp; (team) setup</a:t>
            </a:r>
          </a:p>
        </p:txBody>
      </p:sp>
      <p:sp>
        <p:nvSpPr>
          <p:cNvPr id="37" name="Inhaltsplatzhalter 1">
            <a:extLst>
              <a:ext uri="{FF2B5EF4-FFF2-40B4-BE49-F238E27FC236}">
                <a16:creationId xmlns:a16="http://schemas.microsoft.com/office/drawing/2014/main" id="{696248A6-16C3-2BFB-7C7D-0584EB22B0D9}"/>
              </a:ext>
            </a:extLst>
          </p:cNvPr>
          <p:cNvSpPr txBox="1">
            <a:spLocks/>
          </p:cNvSpPr>
          <p:nvPr/>
        </p:nvSpPr>
        <p:spPr>
          <a:xfrm>
            <a:off x="6814800" y="4697996"/>
            <a:ext cx="2437200" cy="17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β-customer Feedback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Minimal marketable product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Implementation organisation</a:t>
            </a:r>
          </a:p>
        </p:txBody>
      </p:sp>
      <p:sp>
        <p:nvSpPr>
          <p:cNvPr id="38" name="Inhaltsplatzhalter 1">
            <a:extLst>
              <a:ext uri="{FF2B5EF4-FFF2-40B4-BE49-F238E27FC236}">
                <a16:creationId xmlns:a16="http://schemas.microsoft.com/office/drawing/2014/main" id="{D559F357-D6A8-3512-6B1E-6294CDE614E4}"/>
              </a:ext>
            </a:extLst>
          </p:cNvPr>
          <p:cNvSpPr txBox="1">
            <a:spLocks/>
          </p:cNvSpPr>
          <p:nvPr/>
        </p:nvSpPr>
        <p:spPr>
          <a:xfrm>
            <a:off x="9324000" y="4697996"/>
            <a:ext cx="2437200" cy="1728000"/>
          </a:xfrm>
          <a:prstGeom prst="rect">
            <a:avLst/>
          </a:prstGeom>
          <a:noFill/>
        </p:spPr>
        <p:txBody>
          <a:bodyPr wrap="square" lIns="72000" tIns="54000" rIns="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Continuous business elaboration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400" kern="0">
                <a:solidFill>
                  <a:schemeClr val="tx1"/>
                </a:solidFill>
                <a:latin typeface="+mn-lt"/>
              </a:rPr>
              <a:t>Portfolio management &amp; service organisation (DevOps)</a:t>
            </a:r>
          </a:p>
        </p:txBody>
      </p:sp>
    </p:spTree>
    <p:extLst>
      <p:ext uri="{BB962C8B-B14F-4D97-AF65-F5344CB8AC3E}">
        <p14:creationId xmlns:p14="http://schemas.microsoft.com/office/powerpoint/2010/main" val="171685838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ED49D0-F5C6-403D-1D98-24F13D8FC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ED49D0-F5C6-403D-1D98-24F13D8FC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FEC60C-911D-D487-4833-AD0E1A947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gile methodology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E15D509-C567-D4C5-1D2B-4E3FB463CF89}"/>
              </a:ext>
            </a:extLst>
          </p:cNvPr>
          <p:cNvSpPr/>
          <p:nvPr/>
        </p:nvSpPr>
        <p:spPr>
          <a:xfrm>
            <a:off x="6721500" y="5003113"/>
            <a:ext cx="2702361" cy="449999"/>
          </a:xfrm>
          <a:custGeom>
            <a:avLst/>
            <a:gdLst>
              <a:gd name="connsiteX0" fmla="*/ 1 w 2437197"/>
              <a:gd name="connsiteY0" fmla="*/ 405845 h 405844"/>
              <a:gd name="connsiteX1" fmla="*/ 637485 w 2437197"/>
              <a:gd name="connsiteY1" fmla="*/ 0 h 405844"/>
              <a:gd name="connsiteX2" fmla="*/ 2232308 w 2437197"/>
              <a:gd name="connsiteY2" fmla="*/ 0 h 405844"/>
              <a:gd name="connsiteX3" fmla="*/ 2437197 w 2437197"/>
              <a:gd name="connsiteY3" fmla="*/ 202923 h 405844"/>
              <a:gd name="connsiteX4" fmla="*/ 2232308 w 2437197"/>
              <a:gd name="connsiteY4" fmla="*/ 405845 h 405844"/>
              <a:gd name="connsiteX5" fmla="*/ 0 w 2437197"/>
              <a:gd name="connsiteY5" fmla="*/ 405845 h 40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37197" h="405844">
                <a:moveTo>
                  <a:pt x="1" y="405845"/>
                </a:moveTo>
                <a:cubicBezTo>
                  <a:pt x="242204" y="318627"/>
                  <a:pt x="459337" y="178708"/>
                  <a:pt x="637485" y="0"/>
                </a:cubicBezTo>
                <a:lnTo>
                  <a:pt x="2232308" y="0"/>
                </a:lnTo>
                <a:lnTo>
                  <a:pt x="2437197" y="202923"/>
                </a:lnTo>
                <a:lnTo>
                  <a:pt x="2232308" y="405845"/>
                </a:lnTo>
                <a:lnTo>
                  <a:pt x="0" y="405845"/>
                </a:lnTo>
                <a:close/>
              </a:path>
            </a:pathLst>
          </a:custGeom>
          <a:solidFill>
            <a:schemeClr val="tx2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FD29828-0FA6-96F9-16F6-8A9CAC27CCCC}"/>
              </a:ext>
            </a:extLst>
          </p:cNvPr>
          <p:cNvSpPr/>
          <p:nvPr/>
        </p:nvSpPr>
        <p:spPr>
          <a:xfrm>
            <a:off x="2768140" y="5003113"/>
            <a:ext cx="2250000" cy="449999"/>
          </a:xfrm>
          <a:custGeom>
            <a:avLst/>
            <a:gdLst>
              <a:gd name="connsiteX0" fmla="*/ 0 w 2029223"/>
              <a:gd name="connsiteY0" fmla="*/ 405845 h 405844"/>
              <a:gd name="connsiteX1" fmla="*/ 1827096 w 2029223"/>
              <a:gd name="connsiteY1" fmla="*/ 405845 h 405844"/>
              <a:gd name="connsiteX2" fmla="*/ 2029224 w 2029223"/>
              <a:gd name="connsiteY2" fmla="*/ 202923 h 405844"/>
              <a:gd name="connsiteX3" fmla="*/ 1827096 w 2029223"/>
              <a:gd name="connsiteY3" fmla="*/ 0 h 405844"/>
              <a:gd name="connsiteX4" fmla="*/ 0 w 2029223"/>
              <a:gd name="connsiteY4" fmla="*/ 0 h 405844"/>
              <a:gd name="connsiteX5" fmla="*/ 202220 w 2029223"/>
              <a:gd name="connsiteY5" fmla="*/ 202923 h 405844"/>
              <a:gd name="connsiteX6" fmla="*/ 0 w 2029223"/>
              <a:gd name="connsiteY6" fmla="*/ 405845 h 40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9223" h="405844">
                <a:moveTo>
                  <a:pt x="0" y="405845"/>
                </a:moveTo>
                <a:lnTo>
                  <a:pt x="1827096" y="405845"/>
                </a:lnTo>
                <a:lnTo>
                  <a:pt x="2029224" y="202923"/>
                </a:lnTo>
                <a:lnTo>
                  <a:pt x="1827096" y="0"/>
                </a:lnTo>
                <a:lnTo>
                  <a:pt x="0" y="0"/>
                </a:lnTo>
                <a:lnTo>
                  <a:pt x="202220" y="202923"/>
                </a:lnTo>
                <a:lnTo>
                  <a:pt x="0" y="405845"/>
                </a:lnTo>
                <a:close/>
              </a:path>
            </a:pathLst>
          </a:custGeom>
          <a:solidFill>
            <a:schemeClr val="tx2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3604262-A9FA-2C0E-D9A9-E74DD8923D81}"/>
              </a:ext>
            </a:extLst>
          </p:cNvPr>
          <p:cNvSpPr/>
          <p:nvPr/>
        </p:nvSpPr>
        <p:spPr>
          <a:xfrm>
            <a:off x="5196000" y="2753110"/>
            <a:ext cx="1799997" cy="1799997"/>
          </a:xfrm>
          <a:custGeom>
            <a:avLst/>
            <a:gdLst>
              <a:gd name="connsiteX0" fmla="*/ 890190 w 1623376"/>
              <a:gd name="connsiteY0" fmla="*/ 3805 h 1623376"/>
              <a:gd name="connsiteX1" fmla="*/ 733186 w 1623376"/>
              <a:gd name="connsiteY1" fmla="*/ 3805 h 1623376"/>
              <a:gd name="connsiteX2" fmla="*/ 707328 w 1623376"/>
              <a:gd name="connsiteY2" fmla="*/ 129692 h 1623376"/>
              <a:gd name="connsiteX3" fmla="*/ 561068 w 1623376"/>
              <a:gd name="connsiteY3" fmla="*/ 168882 h 1623376"/>
              <a:gd name="connsiteX4" fmla="*/ 475732 w 1623376"/>
              <a:gd name="connsiteY4" fmla="*/ 72791 h 1623376"/>
              <a:gd name="connsiteX5" fmla="*/ 339762 w 1623376"/>
              <a:gd name="connsiteY5" fmla="*/ 151292 h 1623376"/>
              <a:gd name="connsiteX6" fmla="*/ 380311 w 1623376"/>
              <a:gd name="connsiteY6" fmla="*/ 273243 h 1623376"/>
              <a:gd name="connsiteX7" fmla="*/ 273242 w 1623376"/>
              <a:gd name="connsiteY7" fmla="*/ 380312 h 1623376"/>
              <a:gd name="connsiteX8" fmla="*/ 151292 w 1623376"/>
              <a:gd name="connsiteY8" fmla="*/ 339763 h 1623376"/>
              <a:gd name="connsiteX9" fmla="*/ 72790 w 1623376"/>
              <a:gd name="connsiteY9" fmla="*/ 475732 h 1623376"/>
              <a:gd name="connsiteX10" fmla="*/ 168882 w 1623376"/>
              <a:gd name="connsiteY10" fmla="*/ 561069 h 1623376"/>
              <a:gd name="connsiteX11" fmla="*/ 129691 w 1623376"/>
              <a:gd name="connsiteY11" fmla="*/ 707329 h 1623376"/>
              <a:gd name="connsiteX12" fmla="*/ 3805 w 1623376"/>
              <a:gd name="connsiteY12" fmla="*/ 733187 h 1623376"/>
              <a:gd name="connsiteX13" fmla="*/ 3805 w 1623376"/>
              <a:gd name="connsiteY13" fmla="*/ 890190 h 1623376"/>
              <a:gd name="connsiteX14" fmla="*/ 129691 w 1623376"/>
              <a:gd name="connsiteY14" fmla="*/ 916049 h 1623376"/>
              <a:gd name="connsiteX15" fmla="*/ 168882 w 1623376"/>
              <a:gd name="connsiteY15" fmla="*/ 1062309 h 1623376"/>
              <a:gd name="connsiteX16" fmla="*/ 72790 w 1623376"/>
              <a:gd name="connsiteY16" fmla="*/ 1147646 h 1623376"/>
              <a:gd name="connsiteX17" fmla="*/ 151292 w 1623376"/>
              <a:gd name="connsiteY17" fmla="*/ 1283616 h 1623376"/>
              <a:gd name="connsiteX18" fmla="*/ 273242 w 1623376"/>
              <a:gd name="connsiteY18" fmla="*/ 1243066 h 1623376"/>
              <a:gd name="connsiteX19" fmla="*/ 380311 w 1623376"/>
              <a:gd name="connsiteY19" fmla="*/ 1350135 h 1623376"/>
              <a:gd name="connsiteX20" fmla="*/ 339762 w 1623376"/>
              <a:gd name="connsiteY20" fmla="*/ 1472086 h 1623376"/>
              <a:gd name="connsiteX21" fmla="*/ 475732 w 1623376"/>
              <a:gd name="connsiteY21" fmla="*/ 1550587 h 1623376"/>
              <a:gd name="connsiteX22" fmla="*/ 561068 w 1623376"/>
              <a:gd name="connsiteY22" fmla="*/ 1454496 h 1623376"/>
              <a:gd name="connsiteX23" fmla="*/ 707328 w 1623376"/>
              <a:gd name="connsiteY23" fmla="*/ 1493686 h 1623376"/>
              <a:gd name="connsiteX24" fmla="*/ 733186 w 1623376"/>
              <a:gd name="connsiteY24" fmla="*/ 1619572 h 1623376"/>
              <a:gd name="connsiteX25" fmla="*/ 890190 w 1623376"/>
              <a:gd name="connsiteY25" fmla="*/ 1619572 h 1623376"/>
              <a:gd name="connsiteX26" fmla="*/ 916049 w 1623376"/>
              <a:gd name="connsiteY26" fmla="*/ 1493686 h 1623376"/>
              <a:gd name="connsiteX27" fmla="*/ 1062308 w 1623376"/>
              <a:gd name="connsiteY27" fmla="*/ 1454496 h 1623376"/>
              <a:gd name="connsiteX28" fmla="*/ 1147645 w 1623376"/>
              <a:gd name="connsiteY28" fmla="*/ 1550587 h 1623376"/>
              <a:gd name="connsiteX29" fmla="*/ 1283614 w 1623376"/>
              <a:gd name="connsiteY29" fmla="*/ 1472086 h 1623376"/>
              <a:gd name="connsiteX30" fmla="*/ 1243065 w 1623376"/>
              <a:gd name="connsiteY30" fmla="*/ 1350135 h 1623376"/>
              <a:gd name="connsiteX31" fmla="*/ 1350135 w 1623376"/>
              <a:gd name="connsiteY31" fmla="*/ 1243066 h 1623376"/>
              <a:gd name="connsiteX32" fmla="*/ 1472085 w 1623376"/>
              <a:gd name="connsiteY32" fmla="*/ 1283616 h 1623376"/>
              <a:gd name="connsiteX33" fmla="*/ 1550587 w 1623376"/>
              <a:gd name="connsiteY33" fmla="*/ 1147646 h 1623376"/>
              <a:gd name="connsiteX34" fmla="*/ 1454495 w 1623376"/>
              <a:gd name="connsiteY34" fmla="*/ 1062309 h 1623376"/>
              <a:gd name="connsiteX35" fmla="*/ 1493684 w 1623376"/>
              <a:gd name="connsiteY35" fmla="*/ 916049 h 1623376"/>
              <a:gd name="connsiteX36" fmla="*/ 1619571 w 1623376"/>
              <a:gd name="connsiteY36" fmla="*/ 890190 h 1623376"/>
              <a:gd name="connsiteX37" fmla="*/ 1619571 w 1623376"/>
              <a:gd name="connsiteY37" fmla="*/ 733187 h 1623376"/>
              <a:gd name="connsiteX38" fmla="*/ 1493684 w 1623376"/>
              <a:gd name="connsiteY38" fmla="*/ 707329 h 1623376"/>
              <a:gd name="connsiteX39" fmla="*/ 1454495 w 1623376"/>
              <a:gd name="connsiteY39" fmla="*/ 561069 h 1623376"/>
              <a:gd name="connsiteX40" fmla="*/ 1550587 w 1623376"/>
              <a:gd name="connsiteY40" fmla="*/ 475732 h 1623376"/>
              <a:gd name="connsiteX41" fmla="*/ 1472085 w 1623376"/>
              <a:gd name="connsiteY41" fmla="*/ 339763 h 1623376"/>
              <a:gd name="connsiteX42" fmla="*/ 1350135 w 1623376"/>
              <a:gd name="connsiteY42" fmla="*/ 380312 h 1623376"/>
              <a:gd name="connsiteX43" fmla="*/ 1243065 w 1623376"/>
              <a:gd name="connsiteY43" fmla="*/ 273243 h 1623376"/>
              <a:gd name="connsiteX44" fmla="*/ 1283614 w 1623376"/>
              <a:gd name="connsiteY44" fmla="*/ 151292 h 1623376"/>
              <a:gd name="connsiteX45" fmla="*/ 1147645 w 1623376"/>
              <a:gd name="connsiteY45" fmla="*/ 72791 h 1623376"/>
              <a:gd name="connsiteX46" fmla="*/ 1062308 w 1623376"/>
              <a:gd name="connsiteY46" fmla="*/ 168882 h 1623376"/>
              <a:gd name="connsiteX47" fmla="*/ 916049 w 1623376"/>
              <a:gd name="connsiteY47" fmla="*/ 129692 h 1623376"/>
              <a:gd name="connsiteX48" fmla="*/ 890190 w 1623376"/>
              <a:gd name="connsiteY48" fmla="*/ 3805 h 1623376"/>
              <a:gd name="connsiteX49" fmla="*/ 811688 w 1623376"/>
              <a:gd name="connsiteY49" fmla="*/ 284091 h 1623376"/>
              <a:gd name="connsiteX50" fmla="*/ 1339285 w 1623376"/>
              <a:gd name="connsiteY50" fmla="*/ 811689 h 1623376"/>
              <a:gd name="connsiteX51" fmla="*/ 811688 w 1623376"/>
              <a:gd name="connsiteY51" fmla="*/ 1339287 h 1623376"/>
              <a:gd name="connsiteX52" fmla="*/ 284090 w 1623376"/>
              <a:gd name="connsiteY52" fmla="*/ 811689 h 1623376"/>
              <a:gd name="connsiteX53" fmla="*/ 811688 w 1623376"/>
              <a:gd name="connsiteY53" fmla="*/ 284091 h 1623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623376" h="1623376">
                <a:moveTo>
                  <a:pt x="890190" y="3805"/>
                </a:moveTo>
                <a:cubicBezTo>
                  <a:pt x="837978" y="-1268"/>
                  <a:pt x="785398" y="-1268"/>
                  <a:pt x="733186" y="3805"/>
                </a:cubicBezTo>
                <a:lnTo>
                  <a:pt x="707328" y="129692"/>
                </a:lnTo>
                <a:cubicBezTo>
                  <a:pt x="657284" y="137350"/>
                  <a:pt x="608236" y="150493"/>
                  <a:pt x="561068" y="168882"/>
                </a:cubicBezTo>
                <a:lnTo>
                  <a:pt x="475732" y="72791"/>
                </a:lnTo>
                <a:cubicBezTo>
                  <a:pt x="427977" y="94503"/>
                  <a:pt x="382442" y="120792"/>
                  <a:pt x="339762" y="151292"/>
                </a:cubicBezTo>
                <a:lnTo>
                  <a:pt x="380311" y="273243"/>
                </a:lnTo>
                <a:cubicBezTo>
                  <a:pt x="340802" y="304896"/>
                  <a:pt x="304895" y="340802"/>
                  <a:pt x="273242" y="380312"/>
                </a:cubicBezTo>
                <a:lnTo>
                  <a:pt x="151292" y="339763"/>
                </a:lnTo>
                <a:cubicBezTo>
                  <a:pt x="120792" y="382442"/>
                  <a:pt x="94502" y="427979"/>
                  <a:pt x="72790" y="475732"/>
                </a:cubicBezTo>
                <a:lnTo>
                  <a:pt x="168882" y="561069"/>
                </a:lnTo>
                <a:cubicBezTo>
                  <a:pt x="150492" y="608237"/>
                  <a:pt x="137350" y="657286"/>
                  <a:pt x="129691" y="707329"/>
                </a:cubicBezTo>
                <a:lnTo>
                  <a:pt x="3805" y="733187"/>
                </a:lnTo>
                <a:cubicBezTo>
                  <a:pt x="-1268" y="785398"/>
                  <a:pt x="-1268" y="837980"/>
                  <a:pt x="3805" y="890190"/>
                </a:cubicBezTo>
                <a:lnTo>
                  <a:pt x="129691" y="916049"/>
                </a:lnTo>
                <a:cubicBezTo>
                  <a:pt x="137350" y="966093"/>
                  <a:pt x="150492" y="1015141"/>
                  <a:pt x="168882" y="1062309"/>
                </a:cubicBezTo>
                <a:lnTo>
                  <a:pt x="72790" y="1147646"/>
                </a:lnTo>
                <a:cubicBezTo>
                  <a:pt x="94502" y="1195400"/>
                  <a:pt x="120792" y="1240936"/>
                  <a:pt x="151292" y="1283616"/>
                </a:cubicBezTo>
                <a:lnTo>
                  <a:pt x="273242" y="1243066"/>
                </a:lnTo>
                <a:cubicBezTo>
                  <a:pt x="304895" y="1282575"/>
                  <a:pt x="340802" y="1318482"/>
                  <a:pt x="380311" y="1350135"/>
                </a:cubicBezTo>
                <a:lnTo>
                  <a:pt x="339762" y="1472086"/>
                </a:lnTo>
                <a:cubicBezTo>
                  <a:pt x="382442" y="1502584"/>
                  <a:pt x="427977" y="1528875"/>
                  <a:pt x="475732" y="1550587"/>
                </a:cubicBezTo>
                <a:lnTo>
                  <a:pt x="561068" y="1454496"/>
                </a:lnTo>
                <a:cubicBezTo>
                  <a:pt x="608236" y="1472885"/>
                  <a:pt x="657284" y="1486028"/>
                  <a:pt x="707328" y="1493686"/>
                </a:cubicBezTo>
                <a:lnTo>
                  <a:pt x="733186" y="1619572"/>
                </a:lnTo>
                <a:cubicBezTo>
                  <a:pt x="785398" y="1624645"/>
                  <a:pt x="837978" y="1624645"/>
                  <a:pt x="890190" y="1619572"/>
                </a:cubicBezTo>
                <a:lnTo>
                  <a:pt x="916049" y="1493686"/>
                </a:lnTo>
                <a:cubicBezTo>
                  <a:pt x="966091" y="1486028"/>
                  <a:pt x="1015141" y="1472885"/>
                  <a:pt x="1062308" y="1454496"/>
                </a:cubicBezTo>
                <a:lnTo>
                  <a:pt x="1147645" y="1550587"/>
                </a:lnTo>
                <a:cubicBezTo>
                  <a:pt x="1195398" y="1528875"/>
                  <a:pt x="1240935" y="1502584"/>
                  <a:pt x="1283614" y="1472086"/>
                </a:cubicBezTo>
                <a:lnTo>
                  <a:pt x="1243065" y="1350135"/>
                </a:lnTo>
                <a:cubicBezTo>
                  <a:pt x="1282575" y="1318482"/>
                  <a:pt x="1318480" y="1282575"/>
                  <a:pt x="1350135" y="1243066"/>
                </a:cubicBezTo>
                <a:lnTo>
                  <a:pt x="1472085" y="1283616"/>
                </a:lnTo>
                <a:cubicBezTo>
                  <a:pt x="1502584" y="1240936"/>
                  <a:pt x="1528875" y="1195400"/>
                  <a:pt x="1550587" y="1147646"/>
                </a:cubicBezTo>
                <a:lnTo>
                  <a:pt x="1454495" y="1062309"/>
                </a:lnTo>
                <a:cubicBezTo>
                  <a:pt x="1472885" y="1015141"/>
                  <a:pt x="1486027" y="966093"/>
                  <a:pt x="1493684" y="916049"/>
                </a:cubicBezTo>
                <a:lnTo>
                  <a:pt x="1619571" y="890190"/>
                </a:lnTo>
                <a:cubicBezTo>
                  <a:pt x="1624645" y="837980"/>
                  <a:pt x="1624645" y="785398"/>
                  <a:pt x="1619571" y="733187"/>
                </a:cubicBezTo>
                <a:lnTo>
                  <a:pt x="1493684" y="707329"/>
                </a:lnTo>
                <a:cubicBezTo>
                  <a:pt x="1486027" y="657286"/>
                  <a:pt x="1472885" y="608237"/>
                  <a:pt x="1454495" y="561069"/>
                </a:cubicBezTo>
                <a:lnTo>
                  <a:pt x="1550587" y="475732"/>
                </a:lnTo>
                <a:cubicBezTo>
                  <a:pt x="1528875" y="427979"/>
                  <a:pt x="1502584" y="382442"/>
                  <a:pt x="1472085" y="339763"/>
                </a:cubicBezTo>
                <a:lnTo>
                  <a:pt x="1350135" y="380312"/>
                </a:lnTo>
                <a:cubicBezTo>
                  <a:pt x="1318480" y="340802"/>
                  <a:pt x="1282575" y="304896"/>
                  <a:pt x="1243065" y="273243"/>
                </a:cubicBezTo>
                <a:lnTo>
                  <a:pt x="1283614" y="151292"/>
                </a:lnTo>
                <a:cubicBezTo>
                  <a:pt x="1240935" y="120792"/>
                  <a:pt x="1195398" y="94503"/>
                  <a:pt x="1147645" y="72791"/>
                </a:cubicBezTo>
                <a:lnTo>
                  <a:pt x="1062308" y="168882"/>
                </a:lnTo>
                <a:cubicBezTo>
                  <a:pt x="1015141" y="150493"/>
                  <a:pt x="966091" y="137350"/>
                  <a:pt x="916049" y="129692"/>
                </a:cubicBezTo>
                <a:lnTo>
                  <a:pt x="890190" y="3805"/>
                </a:lnTo>
                <a:close/>
                <a:moveTo>
                  <a:pt x="811688" y="284091"/>
                </a:moveTo>
                <a:cubicBezTo>
                  <a:pt x="1102877" y="284091"/>
                  <a:pt x="1339285" y="520501"/>
                  <a:pt x="1339285" y="811689"/>
                </a:cubicBezTo>
                <a:cubicBezTo>
                  <a:pt x="1339285" y="1102878"/>
                  <a:pt x="1102877" y="1339287"/>
                  <a:pt x="811688" y="1339287"/>
                </a:cubicBezTo>
                <a:cubicBezTo>
                  <a:pt x="520499" y="1339287"/>
                  <a:pt x="284090" y="1102878"/>
                  <a:pt x="284090" y="811689"/>
                </a:cubicBezTo>
                <a:cubicBezTo>
                  <a:pt x="284090" y="520501"/>
                  <a:pt x="520499" y="284091"/>
                  <a:pt x="811688" y="284091"/>
                </a:cubicBezTo>
                <a:close/>
              </a:path>
            </a:pathLst>
          </a:custGeom>
          <a:solidFill>
            <a:srgbClr val="005194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E5B7F62-EDD1-5CD2-1853-B2757B2A24BF}"/>
              </a:ext>
            </a:extLst>
          </p:cNvPr>
          <p:cNvSpPr/>
          <p:nvPr/>
        </p:nvSpPr>
        <p:spPr>
          <a:xfrm>
            <a:off x="4295994" y="1853112"/>
            <a:ext cx="3599995" cy="3599996"/>
          </a:xfrm>
          <a:custGeom>
            <a:avLst/>
            <a:gdLst>
              <a:gd name="connsiteX0" fmla="*/ 2390335 w 3246752"/>
              <a:gd name="connsiteY0" fmla="*/ 2815024 h 3246753"/>
              <a:gd name="connsiteX1" fmla="*/ 2317919 w 3246752"/>
              <a:gd name="connsiteY1" fmla="*/ 3090871 h 3246753"/>
              <a:gd name="connsiteX2" fmla="*/ 1623376 w 3246752"/>
              <a:gd name="connsiteY2" fmla="*/ 3246754 h 3246753"/>
              <a:gd name="connsiteX3" fmla="*/ 550058 w 3246752"/>
              <a:gd name="connsiteY3" fmla="*/ 3246754 h 3246753"/>
              <a:gd name="connsiteX4" fmla="*/ 754869 w 3246752"/>
              <a:gd name="connsiteY4" fmla="*/ 3043832 h 3246753"/>
              <a:gd name="connsiteX5" fmla="*/ 550058 w 3246752"/>
              <a:gd name="connsiteY5" fmla="*/ 2840909 h 3246753"/>
              <a:gd name="connsiteX6" fmla="*/ 1623376 w 3246752"/>
              <a:gd name="connsiteY6" fmla="*/ 2840909 h 3246753"/>
              <a:gd name="connsiteX7" fmla="*/ 2109988 w 3246752"/>
              <a:gd name="connsiteY7" fmla="*/ 2739625 h 3246753"/>
              <a:gd name="connsiteX8" fmla="*/ 2390335 w 3246752"/>
              <a:gd name="connsiteY8" fmla="*/ 2815024 h 3246753"/>
              <a:gd name="connsiteX9" fmla="*/ 3220483 w 3246752"/>
              <a:gd name="connsiteY9" fmla="*/ 1331213 h 3246753"/>
              <a:gd name="connsiteX10" fmla="*/ 3246752 w 3246752"/>
              <a:gd name="connsiteY10" fmla="*/ 1623379 h 3246753"/>
              <a:gd name="connsiteX11" fmla="*/ 2400831 w 3246752"/>
              <a:gd name="connsiteY11" fmla="*/ 3048561 h 3246753"/>
              <a:gd name="connsiteX12" fmla="*/ 2476531 w 3246752"/>
              <a:gd name="connsiteY12" fmla="*/ 2765261 h 3246753"/>
              <a:gd name="connsiteX13" fmla="*/ 2204458 w 3246752"/>
              <a:gd name="connsiteY13" fmla="*/ 2693362 h 3246753"/>
              <a:gd name="connsiteX14" fmla="*/ 2840909 w 3246752"/>
              <a:gd name="connsiteY14" fmla="*/ 1623378 h 3246753"/>
              <a:gd name="connsiteX15" fmla="*/ 2826904 w 3246752"/>
              <a:gd name="connsiteY15" fmla="*/ 1438302 h 3246753"/>
              <a:gd name="connsiteX16" fmla="*/ 2971176 w 3246752"/>
              <a:gd name="connsiteY16" fmla="*/ 1188955 h 3246753"/>
              <a:gd name="connsiteX17" fmla="*/ 3220483 w 3246752"/>
              <a:gd name="connsiteY17" fmla="*/ 1331212 h 3246753"/>
              <a:gd name="connsiteX18" fmla="*/ 213684 w 3246752"/>
              <a:gd name="connsiteY18" fmla="*/ 1421577 h 3246753"/>
              <a:gd name="connsiteX19" fmla="*/ 454623 w 3246752"/>
              <a:gd name="connsiteY19" fmla="*/ 1281363 h 3246753"/>
              <a:gd name="connsiteX20" fmla="*/ 405845 w 3246752"/>
              <a:gd name="connsiteY20" fmla="*/ 1623379 h 3246753"/>
              <a:gd name="connsiteX21" fmla="*/ 1136362 w 3246752"/>
              <a:gd name="connsiteY21" fmla="*/ 2739451 h 3246753"/>
              <a:gd name="connsiteX22" fmla="*/ 444939 w 3246752"/>
              <a:gd name="connsiteY22" fmla="*/ 2739451 h 3246753"/>
              <a:gd name="connsiteX23" fmla="*/ 0 w 3246752"/>
              <a:gd name="connsiteY23" fmla="*/ 1623379 h 3246753"/>
              <a:gd name="connsiteX24" fmla="*/ 65588 w 3246752"/>
              <a:gd name="connsiteY24" fmla="*/ 1165478 h 3246753"/>
              <a:gd name="connsiteX25" fmla="*/ 213684 w 3246752"/>
              <a:gd name="connsiteY25" fmla="*/ 1421577 h 3246753"/>
              <a:gd name="connsiteX26" fmla="*/ 1749219 w 3246752"/>
              <a:gd name="connsiteY26" fmla="*/ 4817 h 3246753"/>
              <a:gd name="connsiteX27" fmla="*/ 3201197 w 3246752"/>
              <a:gd name="connsiteY27" fmla="*/ 1240258 h 3246753"/>
              <a:gd name="connsiteX28" fmla="*/ 2945415 w 3246752"/>
              <a:gd name="connsiteY28" fmla="*/ 1092819 h 3246753"/>
              <a:gd name="connsiteX29" fmla="*/ 2806551 w 3246752"/>
              <a:gd name="connsiteY29" fmla="*/ 1335257 h 3246753"/>
              <a:gd name="connsiteX30" fmla="*/ 1761391 w 3246752"/>
              <a:gd name="connsiteY30" fmla="*/ 413600 h 3246753"/>
              <a:gd name="connsiteX31" fmla="*/ 1552116 w 3246752"/>
              <a:gd name="connsiteY31" fmla="*/ 203932 h 3246753"/>
              <a:gd name="connsiteX32" fmla="*/ 1749219 w 3246752"/>
              <a:gd name="connsiteY32" fmla="*/ 4821 h 3246753"/>
              <a:gd name="connsiteX33" fmla="*/ 94359 w 3246752"/>
              <a:gd name="connsiteY33" fmla="*/ 1077070 h 3246753"/>
              <a:gd name="connsiteX34" fmla="*/ 1623373 w 3246752"/>
              <a:gd name="connsiteY34" fmla="*/ 0 h 3246753"/>
              <a:gd name="connsiteX35" fmla="*/ 1655911 w 3246752"/>
              <a:gd name="connsiteY35" fmla="*/ 321 h 3246753"/>
              <a:gd name="connsiteX36" fmla="*/ 1452585 w 3246752"/>
              <a:gd name="connsiteY36" fmla="*/ 203929 h 3246753"/>
              <a:gd name="connsiteX37" fmla="*/ 1656336 w 3246752"/>
              <a:gd name="connsiteY37" fmla="*/ 406283 h 3246753"/>
              <a:gd name="connsiteX38" fmla="*/ 1623373 w 3246752"/>
              <a:gd name="connsiteY38" fmla="*/ 405844 h 3246753"/>
              <a:gd name="connsiteX39" fmla="*/ 488444 w 3246752"/>
              <a:gd name="connsiteY39" fmla="*/ 1181983 h 3246753"/>
              <a:gd name="connsiteX40" fmla="*/ 239439 w 3246752"/>
              <a:gd name="connsiteY40" fmla="*/ 1325435 h 3246753"/>
              <a:gd name="connsiteX41" fmla="*/ 94362 w 3246752"/>
              <a:gd name="connsiteY41" fmla="*/ 1077070 h 324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246752" h="3246753">
                <a:moveTo>
                  <a:pt x="2390335" y="2815024"/>
                </a:moveTo>
                <a:lnTo>
                  <a:pt x="2317919" y="3090871"/>
                </a:lnTo>
                <a:cubicBezTo>
                  <a:pt x="2107317" y="3190819"/>
                  <a:pt x="1871827" y="3246754"/>
                  <a:pt x="1623376" y="3246754"/>
                </a:cubicBezTo>
                <a:lnTo>
                  <a:pt x="550058" y="3246754"/>
                </a:lnTo>
                <a:lnTo>
                  <a:pt x="754869" y="3043832"/>
                </a:lnTo>
                <a:lnTo>
                  <a:pt x="550058" y="2840909"/>
                </a:lnTo>
                <a:lnTo>
                  <a:pt x="1623376" y="2840909"/>
                </a:lnTo>
                <a:cubicBezTo>
                  <a:pt x="1796342" y="2840909"/>
                  <a:pt x="1960933" y="2804764"/>
                  <a:pt x="2109988" y="2739625"/>
                </a:cubicBezTo>
                <a:lnTo>
                  <a:pt x="2390335" y="2815024"/>
                </a:lnTo>
                <a:close/>
                <a:moveTo>
                  <a:pt x="3220483" y="1331213"/>
                </a:moveTo>
                <a:cubicBezTo>
                  <a:pt x="3237741" y="1426025"/>
                  <a:pt x="3246752" y="1523658"/>
                  <a:pt x="3246752" y="1623379"/>
                </a:cubicBezTo>
                <a:cubicBezTo>
                  <a:pt x="3246752" y="2237743"/>
                  <a:pt x="2904735" y="2772856"/>
                  <a:pt x="2400831" y="3048561"/>
                </a:cubicBezTo>
                <a:lnTo>
                  <a:pt x="2476531" y="2765261"/>
                </a:lnTo>
                <a:lnTo>
                  <a:pt x="2204458" y="2693362"/>
                </a:lnTo>
                <a:cubicBezTo>
                  <a:pt x="2583497" y="2486889"/>
                  <a:pt x="2840909" y="2084958"/>
                  <a:pt x="2840909" y="1623378"/>
                </a:cubicBezTo>
                <a:cubicBezTo>
                  <a:pt x="2840909" y="1560482"/>
                  <a:pt x="2836129" y="1498692"/>
                  <a:pt x="2826904" y="1438302"/>
                </a:cubicBezTo>
                <a:lnTo>
                  <a:pt x="2971176" y="1188955"/>
                </a:lnTo>
                <a:lnTo>
                  <a:pt x="3220483" y="1331212"/>
                </a:lnTo>
                <a:close/>
                <a:moveTo>
                  <a:pt x="213684" y="1421577"/>
                </a:moveTo>
                <a:lnTo>
                  <a:pt x="454623" y="1281363"/>
                </a:lnTo>
                <a:cubicBezTo>
                  <a:pt x="422878" y="1389851"/>
                  <a:pt x="405845" y="1504641"/>
                  <a:pt x="405845" y="1623379"/>
                </a:cubicBezTo>
                <a:cubicBezTo>
                  <a:pt x="405845" y="2122253"/>
                  <a:pt x="706533" y="2551451"/>
                  <a:pt x="1136362" y="2739451"/>
                </a:cubicBezTo>
                <a:lnTo>
                  <a:pt x="444939" y="2739451"/>
                </a:lnTo>
                <a:cubicBezTo>
                  <a:pt x="169206" y="2448420"/>
                  <a:pt x="0" y="2055504"/>
                  <a:pt x="0" y="1623379"/>
                </a:cubicBezTo>
                <a:cubicBezTo>
                  <a:pt x="0" y="1464434"/>
                  <a:pt x="22893" y="1310795"/>
                  <a:pt x="65588" y="1165478"/>
                </a:cubicBezTo>
                <a:lnTo>
                  <a:pt x="213684" y="1421577"/>
                </a:lnTo>
                <a:close/>
                <a:moveTo>
                  <a:pt x="1749219" y="4817"/>
                </a:moveTo>
                <a:cubicBezTo>
                  <a:pt x="2456995" y="59162"/>
                  <a:pt x="3038351" y="568308"/>
                  <a:pt x="3201197" y="1240258"/>
                </a:cubicBezTo>
                <a:lnTo>
                  <a:pt x="2945415" y="1092819"/>
                </a:lnTo>
                <a:lnTo>
                  <a:pt x="2806551" y="1335257"/>
                </a:lnTo>
                <a:cubicBezTo>
                  <a:pt x="2687550" y="845598"/>
                  <a:pt x="2272150" y="471354"/>
                  <a:pt x="1761391" y="413600"/>
                </a:cubicBezTo>
                <a:lnTo>
                  <a:pt x="1552116" y="203932"/>
                </a:lnTo>
                <a:lnTo>
                  <a:pt x="1749219" y="4821"/>
                </a:lnTo>
                <a:close/>
                <a:moveTo>
                  <a:pt x="94359" y="1077070"/>
                </a:moveTo>
                <a:cubicBezTo>
                  <a:pt x="318891" y="449505"/>
                  <a:pt x="919050" y="0"/>
                  <a:pt x="1623373" y="0"/>
                </a:cubicBezTo>
                <a:cubicBezTo>
                  <a:pt x="1634223" y="0"/>
                  <a:pt x="1645046" y="107"/>
                  <a:pt x="1655911" y="321"/>
                </a:cubicBezTo>
                <a:lnTo>
                  <a:pt x="1452585" y="203929"/>
                </a:lnTo>
                <a:lnTo>
                  <a:pt x="1656336" y="406283"/>
                </a:lnTo>
                <a:cubicBezTo>
                  <a:pt x="1645333" y="405990"/>
                  <a:pt x="1634370" y="405844"/>
                  <a:pt x="1623373" y="405844"/>
                </a:cubicBezTo>
                <a:cubicBezTo>
                  <a:pt x="1107029" y="405844"/>
                  <a:pt x="665325" y="727963"/>
                  <a:pt x="488444" y="1181983"/>
                </a:cubicBezTo>
                <a:lnTo>
                  <a:pt x="239439" y="1325435"/>
                </a:lnTo>
                <a:lnTo>
                  <a:pt x="94362" y="1077070"/>
                </a:lnTo>
                <a:close/>
              </a:path>
            </a:pathLst>
          </a:custGeom>
          <a:solidFill>
            <a:schemeClr val="tx2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CC60283-95CE-3060-7598-4736D56B9556}"/>
              </a:ext>
            </a:extLst>
          </p:cNvPr>
          <p:cNvSpPr/>
          <p:nvPr/>
        </p:nvSpPr>
        <p:spPr>
          <a:xfrm>
            <a:off x="5758493" y="3394363"/>
            <a:ext cx="674999" cy="517499"/>
          </a:xfrm>
          <a:custGeom>
            <a:avLst/>
            <a:gdLst>
              <a:gd name="connsiteX0" fmla="*/ 0 w 608766"/>
              <a:gd name="connsiteY0" fmla="*/ 257034 h 466720"/>
              <a:gd name="connsiteX1" fmla="*/ 67641 w 608766"/>
              <a:gd name="connsiteY1" fmla="*/ 169101 h 466720"/>
              <a:gd name="connsiteX2" fmla="*/ 243507 w 608766"/>
              <a:gd name="connsiteY2" fmla="*/ 317911 h 466720"/>
              <a:gd name="connsiteX3" fmla="*/ 527598 w 608766"/>
              <a:gd name="connsiteY3" fmla="*/ 0 h 466720"/>
              <a:gd name="connsiteX4" fmla="*/ 608767 w 608766"/>
              <a:gd name="connsiteY4" fmla="*/ 74404 h 466720"/>
              <a:gd name="connsiteX5" fmla="*/ 250272 w 608766"/>
              <a:gd name="connsiteY5" fmla="*/ 466720 h 466720"/>
              <a:gd name="connsiteX6" fmla="*/ 0 w 608766"/>
              <a:gd name="connsiteY6" fmla="*/ 257034 h 466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766" h="466720">
                <a:moveTo>
                  <a:pt x="0" y="257034"/>
                </a:moveTo>
                <a:lnTo>
                  <a:pt x="67641" y="169101"/>
                </a:lnTo>
                <a:lnTo>
                  <a:pt x="243507" y="317911"/>
                </a:lnTo>
                <a:lnTo>
                  <a:pt x="527598" y="0"/>
                </a:lnTo>
                <a:lnTo>
                  <a:pt x="608767" y="74404"/>
                </a:lnTo>
                <a:lnTo>
                  <a:pt x="250272" y="466720"/>
                </a:lnTo>
                <a:lnTo>
                  <a:pt x="0" y="257034"/>
                </a:lnTo>
                <a:close/>
              </a:path>
            </a:pathLst>
          </a:custGeom>
          <a:solidFill>
            <a:srgbClr val="005193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9FB31B8-A755-8562-5078-C2A6C874F2C1}"/>
              </a:ext>
            </a:extLst>
          </p:cNvPr>
          <p:cNvSpPr/>
          <p:nvPr/>
        </p:nvSpPr>
        <p:spPr>
          <a:xfrm>
            <a:off x="9316722" y="5003113"/>
            <a:ext cx="2250000" cy="449999"/>
          </a:xfrm>
          <a:custGeom>
            <a:avLst/>
            <a:gdLst>
              <a:gd name="connsiteX0" fmla="*/ 0 w 2029223"/>
              <a:gd name="connsiteY0" fmla="*/ 405845 h 405844"/>
              <a:gd name="connsiteX1" fmla="*/ 1827096 w 2029223"/>
              <a:gd name="connsiteY1" fmla="*/ 405845 h 405844"/>
              <a:gd name="connsiteX2" fmla="*/ 2029224 w 2029223"/>
              <a:gd name="connsiteY2" fmla="*/ 202923 h 405844"/>
              <a:gd name="connsiteX3" fmla="*/ 1827096 w 2029223"/>
              <a:gd name="connsiteY3" fmla="*/ 0 h 405844"/>
              <a:gd name="connsiteX4" fmla="*/ 0 w 2029223"/>
              <a:gd name="connsiteY4" fmla="*/ 0 h 405844"/>
              <a:gd name="connsiteX5" fmla="*/ 202220 w 2029223"/>
              <a:gd name="connsiteY5" fmla="*/ 202923 h 405844"/>
              <a:gd name="connsiteX6" fmla="*/ 0 w 2029223"/>
              <a:gd name="connsiteY6" fmla="*/ 405845 h 40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29223" h="405844">
                <a:moveTo>
                  <a:pt x="0" y="405845"/>
                </a:moveTo>
                <a:lnTo>
                  <a:pt x="1827096" y="405845"/>
                </a:lnTo>
                <a:lnTo>
                  <a:pt x="2029224" y="202923"/>
                </a:lnTo>
                <a:lnTo>
                  <a:pt x="1827096" y="0"/>
                </a:lnTo>
                <a:lnTo>
                  <a:pt x="0" y="0"/>
                </a:lnTo>
                <a:lnTo>
                  <a:pt x="202220" y="202923"/>
                </a:lnTo>
                <a:lnTo>
                  <a:pt x="0" y="405845"/>
                </a:lnTo>
                <a:close/>
              </a:path>
            </a:pathLst>
          </a:custGeom>
          <a:solidFill>
            <a:schemeClr val="bg2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B726600-6011-5559-006B-480A82B7B3D6}"/>
              </a:ext>
            </a:extLst>
          </p:cNvPr>
          <p:cNvSpPr/>
          <p:nvPr/>
        </p:nvSpPr>
        <p:spPr>
          <a:xfrm>
            <a:off x="11744582" y="2873931"/>
            <a:ext cx="458017" cy="1558358"/>
          </a:xfrm>
          <a:custGeom>
            <a:avLst/>
            <a:gdLst>
              <a:gd name="connsiteX0" fmla="*/ 458017 w 458017"/>
              <a:gd name="connsiteY0" fmla="*/ 0 h 1558358"/>
              <a:gd name="connsiteX1" fmla="*/ 458017 w 458017"/>
              <a:gd name="connsiteY1" fmla="*/ 400025 h 1558358"/>
              <a:gd name="connsiteX2" fmla="*/ 414965 w 458017"/>
              <a:gd name="connsiteY2" fmla="*/ 452195 h 1558358"/>
              <a:gd name="connsiteX3" fmla="*/ 314999 w 458017"/>
              <a:gd name="connsiteY3" fmla="*/ 779179 h 1558358"/>
              <a:gd name="connsiteX4" fmla="*/ 414965 w 458017"/>
              <a:gd name="connsiteY4" fmla="*/ 1106163 h 1558358"/>
              <a:gd name="connsiteX5" fmla="*/ 458017 w 458017"/>
              <a:gd name="connsiteY5" fmla="*/ 1158333 h 1558358"/>
              <a:gd name="connsiteX6" fmla="*/ 458017 w 458017"/>
              <a:gd name="connsiteY6" fmla="*/ 1558358 h 1558358"/>
              <a:gd name="connsiteX7" fmla="*/ 376728 w 458017"/>
              <a:gd name="connsiteY7" fmla="*/ 1511426 h 1558358"/>
              <a:gd name="connsiteX8" fmla="*/ 421688 w 458017"/>
              <a:gd name="connsiteY8" fmla="*/ 1376207 h 1558358"/>
              <a:gd name="connsiteX9" fmla="*/ 302970 w 458017"/>
              <a:gd name="connsiteY9" fmla="*/ 1257489 h 1558358"/>
              <a:gd name="connsiteX10" fmla="*/ 167752 w 458017"/>
              <a:gd name="connsiteY10" fmla="*/ 1302451 h 1558358"/>
              <a:gd name="connsiteX11" fmla="*/ 80709 w 458017"/>
              <a:gd name="connsiteY11" fmla="*/ 1151687 h 1558358"/>
              <a:gd name="connsiteX12" fmla="*/ 187256 w 458017"/>
              <a:gd name="connsiteY12" fmla="*/ 1057066 h 1558358"/>
              <a:gd name="connsiteX13" fmla="*/ 143801 w 458017"/>
              <a:gd name="connsiteY13" fmla="*/ 894893 h 1558358"/>
              <a:gd name="connsiteX14" fmla="*/ 4219 w 458017"/>
              <a:gd name="connsiteY14" fmla="*/ 866221 h 1558358"/>
              <a:gd name="connsiteX15" fmla="*/ 4219 w 458017"/>
              <a:gd name="connsiteY15" fmla="*/ 692136 h 1558358"/>
              <a:gd name="connsiteX16" fmla="*/ 143801 w 458017"/>
              <a:gd name="connsiteY16" fmla="*/ 663465 h 1558358"/>
              <a:gd name="connsiteX17" fmla="*/ 187256 w 458017"/>
              <a:gd name="connsiteY17" fmla="*/ 501292 h 1558358"/>
              <a:gd name="connsiteX18" fmla="*/ 80709 w 458017"/>
              <a:gd name="connsiteY18" fmla="*/ 406670 h 1558358"/>
              <a:gd name="connsiteX19" fmla="*/ 167752 w 458017"/>
              <a:gd name="connsiteY19" fmla="*/ 255908 h 1558358"/>
              <a:gd name="connsiteX20" fmla="*/ 302970 w 458017"/>
              <a:gd name="connsiteY20" fmla="*/ 300869 h 1558358"/>
              <a:gd name="connsiteX21" fmla="*/ 421688 w 458017"/>
              <a:gd name="connsiteY21" fmla="*/ 182151 h 1558358"/>
              <a:gd name="connsiteX22" fmla="*/ 376728 w 458017"/>
              <a:gd name="connsiteY22" fmla="*/ 46931 h 155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58017" h="1558358">
                <a:moveTo>
                  <a:pt x="458017" y="0"/>
                </a:moveTo>
                <a:lnTo>
                  <a:pt x="458017" y="400025"/>
                </a:lnTo>
                <a:lnTo>
                  <a:pt x="414965" y="452195"/>
                </a:lnTo>
                <a:cubicBezTo>
                  <a:pt x="351861" y="545568"/>
                  <a:pt x="314999" y="658103"/>
                  <a:pt x="314999" y="779179"/>
                </a:cubicBezTo>
                <a:cubicBezTo>
                  <a:pt x="314999" y="900255"/>
                  <a:pt x="351861" y="1012790"/>
                  <a:pt x="414965" y="1106163"/>
                </a:cubicBezTo>
                <a:lnTo>
                  <a:pt x="458017" y="1158333"/>
                </a:lnTo>
                <a:lnTo>
                  <a:pt x="458017" y="1558358"/>
                </a:lnTo>
                <a:lnTo>
                  <a:pt x="376728" y="1511426"/>
                </a:lnTo>
                <a:lnTo>
                  <a:pt x="421688" y="1376207"/>
                </a:lnTo>
                <a:cubicBezTo>
                  <a:pt x="377881" y="1341110"/>
                  <a:pt x="338067" y="1301297"/>
                  <a:pt x="302970" y="1257489"/>
                </a:cubicBezTo>
                <a:lnTo>
                  <a:pt x="167752" y="1302451"/>
                </a:lnTo>
                <a:cubicBezTo>
                  <a:pt x="133934" y="1255127"/>
                  <a:pt x="104784" y="1204637"/>
                  <a:pt x="80709" y="1151687"/>
                </a:cubicBezTo>
                <a:lnTo>
                  <a:pt x="187256" y="1057066"/>
                </a:lnTo>
                <a:cubicBezTo>
                  <a:pt x="166865" y="1004766"/>
                  <a:pt x="152293" y="950382"/>
                  <a:pt x="143801" y="894893"/>
                </a:cubicBezTo>
                <a:lnTo>
                  <a:pt x="4219" y="866221"/>
                </a:lnTo>
                <a:cubicBezTo>
                  <a:pt x="-1406" y="808330"/>
                  <a:pt x="-1406" y="750027"/>
                  <a:pt x="4219" y="692136"/>
                </a:cubicBezTo>
                <a:lnTo>
                  <a:pt x="143801" y="663465"/>
                </a:lnTo>
                <a:cubicBezTo>
                  <a:pt x="152293" y="607977"/>
                  <a:pt x="166865" y="553591"/>
                  <a:pt x="187256" y="501292"/>
                </a:cubicBezTo>
                <a:lnTo>
                  <a:pt x="80709" y="406670"/>
                </a:lnTo>
                <a:cubicBezTo>
                  <a:pt x="104784" y="353722"/>
                  <a:pt x="133934" y="303230"/>
                  <a:pt x="167752" y="255908"/>
                </a:cubicBezTo>
                <a:lnTo>
                  <a:pt x="302970" y="300869"/>
                </a:lnTo>
                <a:cubicBezTo>
                  <a:pt x="338067" y="257060"/>
                  <a:pt x="377881" y="217247"/>
                  <a:pt x="421688" y="182151"/>
                </a:cubicBezTo>
                <a:lnTo>
                  <a:pt x="376728" y="46931"/>
                </a:lnTo>
                <a:close/>
              </a:path>
            </a:pathLst>
          </a:custGeom>
          <a:solidFill>
            <a:schemeClr val="bg2"/>
          </a:solidFill>
          <a:ln w="1099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6952B7F-809D-14B4-A76E-1AD877934C68}"/>
              </a:ext>
            </a:extLst>
          </p:cNvPr>
          <p:cNvSpPr/>
          <p:nvPr/>
        </p:nvSpPr>
        <p:spPr>
          <a:xfrm>
            <a:off x="10844576" y="1911501"/>
            <a:ext cx="1347424" cy="3541609"/>
          </a:xfrm>
          <a:custGeom>
            <a:avLst/>
            <a:gdLst>
              <a:gd name="connsiteX0" fmla="*/ 609904 w 1347424"/>
              <a:gd name="connsiteY0" fmla="*/ 3091609 h 3541609"/>
              <a:gd name="connsiteX1" fmla="*/ 1347424 w 1347424"/>
              <a:gd name="connsiteY1" fmla="*/ 3091609 h 3541609"/>
              <a:gd name="connsiteX2" fmla="*/ 1347424 w 1347424"/>
              <a:gd name="connsiteY2" fmla="*/ 3541609 h 3541609"/>
              <a:gd name="connsiteX3" fmla="*/ 609904 w 1347424"/>
              <a:gd name="connsiteY3" fmla="*/ 3541609 h 3541609"/>
              <a:gd name="connsiteX4" fmla="*/ 836998 w 1347424"/>
              <a:gd name="connsiteY4" fmla="*/ 3316610 h 3541609"/>
              <a:gd name="connsiteX5" fmla="*/ 72724 w 1347424"/>
              <a:gd name="connsiteY5" fmla="*/ 1233893 h 3541609"/>
              <a:gd name="connsiteX6" fmla="*/ 236933 w 1347424"/>
              <a:gd name="connsiteY6" fmla="*/ 1517855 h 3541609"/>
              <a:gd name="connsiteX7" fmla="*/ 504085 w 1347424"/>
              <a:gd name="connsiteY7" fmla="*/ 1362386 h 3541609"/>
              <a:gd name="connsiteX8" fmla="*/ 450000 w 1347424"/>
              <a:gd name="connsiteY8" fmla="*/ 1741613 h 3541609"/>
              <a:gd name="connsiteX9" fmla="*/ 1259997 w 1347424"/>
              <a:gd name="connsiteY9" fmla="*/ 2979112 h 3541609"/>
              <a:gd name="connsiteX10" fmla="*/ 493348 w 1347424"/>
              <a:gd name="connsiteY10" fmla="*/ 2979112 h 3541609"/>
              <a:gd name="connsiteX11" fmla="*/ 0 w 1347424"/>
              <a:gd name="connsiteY11" fmla="*/ 1741613 h 3541609"/>
              <a:gd name="connsiteX12" fmla="*/ 72724 w 1347424"/>
              <a:gd name="connsiteY12" fmla="*/ 1233893 h 3541609"/>
              <a:gd name="connsiteX13" fmla="*/ 1347424 w 1347424"/>
              <a:gd name="connsiteY13" fmla="*/ 0 h 3541609"/>
              <a:gd name="connsiteX14" fmla="*/ 1347424 w 1347424"/>
              <a:gd name="connsiteY14" fmla="*/ 472281 h 3541609"/>
              <a:gd name="connsiteX15" fmla="*/ 1201942 w 1347424"/>
              <a:gd name="connsiteY15" fmla="*/ 531168 h 3541609"/>
              <a:gd name="connsiteX16" fmla="*/ 541586 w 1347424"/>
              <a:gd name="connsiteY16" fmla="*/ 1252194 h 3541609"/>
              <a:gd name="connsiteX17" fmla="*/ 265490 w 1347424"/>
              <a:gd name="connsiteY17" fmla="*/ 1411253 h 3541609"/>
              <a:gd name="connsiteX18" fmla="*/ 104628 w 1347424"/>
              <a:gd name="connsiteY18" fmla="*/ 1135866 h 3541609"/>
              <a:gd name="connsiteX19" fmla="*/ 104625 w 1347424"/>
              <a:gd name="connsiteY19" fmla="*/ 1135866 h 3541609"/>
              <a:gd name="connsiteX20" fmla="*/ 1240639 w 1347424"/>
              <a:gd name="connsiteY20" fmla="*/ 30361 h 3541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347424" h="3541609">
                <a:moveTo>
                  <a:pt x="609904" y="3091609"/>
                </a:moveTo>
                <a:lnTo>
                  <a:pt x="1347424" y="3091609"/>
                </a:lnTo>
                <a:lnTo>
                  <a:pt x="1347424" y="3541609"/>
                </a:lnTo>
                <a:lnTo>
                  <a:pt x="609904" y="3541609"/>
                </a:lnTo>
                <a:lnTo>
                  <a:pt x="836998" y="3316610"/>
                </a:lnTo>
                <a:close/>
                <a:moveTo>
                  <a:pt x="72724" y="1233893"/>
                </a:moveTo>
                <a:lnTo>
                  <a:pt x="236933" y="1517855"/>
                </a:lnTo>
                <a:lnTo>
                  <a:pt x="504085" y="1362386"/>
                </a:lnTo>
                <a:cubicBezTo>
                  <a:pt x="468887" y="1482677"/>
                  <a:pt x="450000" y="1609956"/>
                  <a:pt x="450000" y="1741613"/>
                </a:cubicBezTo>
                <a:cubicBezTo>
                  <a:pt x="450000" y="2294764"/>
                  <a:pt x="783403" y="2770658"/>
                  <a:pt x="1259997" y="2979112"/>
                </a:cubicBezTo>
                <a:lnTo>
                  <a:pt x="493348" y="2979112"/>
                </a:lnTo>
                <a:cubicBezTo>
                  <a:pt x="187615" y="2656417"/>
                  <a:pt x="0" y="2220753"/>
                  <a:pt x="0" y="1741613"/>
                </a:cubicBezTo>
                <a:cubicBezTo>
                  <a:pt x="0" y="1565375"/>
                  <a:pt x="25384" y="1395020"/>
                  <a:pt x="72724" y="1233893"/>
                </a:cubicBezTo>
                <a:close/>
                <a:moveTo>
                  <a:pt x="1347424" y="0"/>
                </a:moveTo>
                <a:lnTo>
                  <a:pt x="1347424" y="472281"/>
                </a:lnTo>
                <a:lnTo>
                  <a:pt x="1201942" y="531168"/>
                </a:lnTo>
                <a:cubicBezTo>
                  <a:pt x="901444" y="680052"/>
                  <a:pt x="664165" y="937558"/>
                  <a:pt x="541586" y="1252194"/>
                </a:cubicBezTo>
                <a:lnTo>
                  <a:pt x="265490" y="1411253"/>
                </a:lnTo>
                <a:lnTo>
                  <a:pt x="104628" y="1135866"/>
                </a:lnTo>
                <a:lnTo>
                  <a:pt x="104625" y="1135866"/>
                </a:lnTo>
                <a:cubicBezTo>
                  <a:pt x="291346" y="613984"/>
                  <a:pt x="712345" y="203157"/>
                  <a:pt x="1240639" y="30361"/>
                </a:cubicBezTo>
                <a:close/>
              </a:path>
            </a:pathLst>
          </a:custGeom>
          <a:solidFill>
            <a:schemeClr val="bg2"/>
          </a:solidFill>
          <a:ln w="1099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68249AC5-EC7D-DC81-2831-1A275FDE9A16}"/>
              </a:ext>
            </a:extLst>
          </p:cNvPr>
          <p:cNvSpPr txBox="1">
            <a:spLocks/>
          </p:cNvSpPr>
          <p:nvPr/>
        </p:nvSpPr>
        <p:spPr>
          <a:xfrm>
            <a:off x="2768140" y="5832000"/>
            <a:ext cx="225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Plan</a:t>
            </a:r>
          </a:p>
        </p:txBody>
      </p:sp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26E3E3F6-A02B-17CA-9E22-B94993FA17C7}"/>
              </a:ext>
            </a:extLst>
          </p:cNvPr>
          <p:cNvSpPr txBox="1">
            <a:spLocks/>
          </p:cNvSpPr>
          <p:nvPr/>
        </p:nvSpPr>
        <p:spPr>
          <a:xfrm>
            <a:off x="5018140" y="5832000"/>
            <a:ext cx="1908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Design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E5C86DF-9ACA-6527-CFD5-D037D391FD5E}"/>
              </a:ext>
            </a:extLst>
          </p:cNvPr>
          <p:cNvCxnSpPr>
            <a:cxnSpLocks/>
          </p:cNvCxnSpPr>
          <p:nvPr/>
        </p:nvCxnSpPr>
        <p:spPr bwMode="auto">
          <a:xfrm>
            <a:off x="3893140" y="5453108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949A460-0ED2-3503-0D49-F6A55F94669D}"/>
              </a:ext>
            </a:extLst>
          </p:cNvPr>
          <p:cNvCxnSpPr>
            <a:cxnSpLocks/>
          </p:cNvCxnSpPr>
          <p:nvPr/>
        </p:nvCxnSpPr>
        <p:spPr bwMode="auto">
          <a:xfrm>
            <a:off x="5972140" y="5453108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1617A2E7-3356-877F-B9F1-67FEF7706DA2}"/>
              </a:ext>
            </a:extLst>
          </p:cNvPr>
          <p:cNvSpPr txBox="1">
            <a:spLocks/>
          </p:cNvSpPr>
          <p:nvPr/>
        </p:nvSpPr>
        <p:spPr>
          <a:xfrm>
            <a:off x="6721499" y="5832000"/>
            <a:ext cx="27023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Releas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6D2D3C5-EF7E-D7CB-131F-9FE474417B58}"/>
              </a:ext>
            </a:extLst>
          </p:cNvPr>
          <p:cNvCxnSpPr>
            <a:cxnSpLocks/>
          </p:cNvCxnSpPr>
          <p:nvPr/>
        </p:nvCxnSpPr>
        <p:spPr bwMode="auto">
          <a:xfrm>
            <a:off x="8072677" y="5453108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2A3517E9-C40A-E8B0-7BB1-F9728F48287E}"/>
              </a:ext>
            </a:extLst>
          </p:cNvPr>
          <p:cNvSpPr txBox="1">
            <a:spLocks/>
          </p:cNvSpPr>
          <p:nvPr/>
        </p:nvSpPr>
        <p:spPr>
          <a:xfrm>
            <a:off x="8266299" y="3945625"/>
            <a:ext cx="108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Develop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F9BF215-5BCE-A954-F76C-0C2037C70B96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8009315" y="3913122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1">
            <a:extLst>
              <a:ext uri="{FF2B5EF4-FFF2-40B4-BE49-F238E27FC236}">
                <a16:creationId xmlns:a16="http://schemas.microsoft.com/office/drawing/2014/main" id="{2E18E307-F34C-0260-B416-6963CFA21E41}"/>
              </a:ext>
            </a:extLst>
          </p:cNvPr>
          <p:cNvSpPr txBox="1">
            <a:spLocks/>
          </p:cNvSpPr>
          <p:nvPr/>
        </p:nvSpPr>
        <p:spPr>
          <a:xfrm>
            <a:off x="7906587" y="2373766"/>
            <a:ext cx="108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Test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74FED93-3602-7540-CA3B-FC7AD4AD21EB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7649603" y="2341264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80188E5-1DF1-A6F5-05E9-3A46C6CE4B47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4533746" y="2341264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4C02870-767B-ABA6-CE15-4E11E2A8729C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4178862" y="3913122"/>
            <a:ext cx="0" cy="3420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F5270D8A-9E10-43EB-B604-724032401B8E}"/>
              </a:ext>
            </a:extLst>
          </p:cNvPr>
          <p:cNvSpPr txBox="1">
            <a:spLocks/>
          </p:cNvSpPr>
          <p:nvPr/>
        </p:nvSpPr>
        <p:spPr>
          <a:xfrm>
            <a:off x="2816523" y="3945625"/>
            <a:ext cx="108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r" defTabSz="914400"/>
            <a:r>
              <a:rPr lang="en-GB" kern="0">
                <a:solidFill>
                  <a:schemeClr val="tx1"/>
                </a:solidFill>
                <a:latin typeface="+mn-lt"/>
              </a:rPr>
              <a:t>Review</a:t>
            </a:r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F98C5D82-6F2C-FB61-7AE5-52241049FCCD}"/>
              </a:ext>
            </a:extLst>
          </p:cNvPr>
          <p:cNvSpPr txBox="1">
            <a:spLocks/>
          </p:cNvSpPr>
          <p:nvPr/>
        </p:nvSpPr>
        <p:spPr>
          <a:xfrm>
            <a:off x="3182619" y="2373768"/>
            <a:ext cx="108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r" defTabSz="914400"/>
            <a:r>
              <a:rPr lang="en-GB" kern="0">
                <a:solidFill>
                  <a:schemeClr val="tx1"/>
                </a:solidFill>
                <a:latin typeface="+mn-lt"/>
              </a:rPr>
              <a:t>Deploy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225CB57-9896-D0E9-89BC-FECC80720DF9}"/>
              </a:ext>
            </a:extLst>
          </p:cNvPr>
          <p:cNvSpPr/>
          <p:nvPr/>
        </p:nvSpPr>
        <p:spPr>
          <a:xfrm>
            <a:off x="184633" y="5003113"/>
            <a:ext cx="2702361" cy="449999"/>
          </a:xfrm>
          <a:custGeom>
            <a:avLst/>
            <a:gdLst>
              <a:gd name="connsiteX0" fmla="*/ 1 w 2437197"/>
              <a:gd name="connsiteY0" fmla="*/ 405845 h 405844"/>
              <a:gd name="connsiteX1" fmla="*/ 637485 w 2437197"/>
              <a:gd name="connsiteY1" fmla="*/ 0 h 405844"/>
              <a:gd name="connsiteX2" fmla="*/ 2232308 w 2437197"/>
              <a:gd name="connsiteY2" fmla="*/ 0 h 405844"/>
              <a:gd name="connsiteX3" fmla="*/ 2437197 w 2437197"/>
              <a:gd name="connsiteY3" fmla="*/ 202923 h 405844"/>
              <a:gd name="connsiteX4" fmla="*/ 2232308 w 2437197"/>
              <a:gd name="connsiteY4" fmla="*/ 405845 h 405844"/>
              <a:gd name="connsiteX5" fmla="*/ 0 w 2437197"/>
              <a:gd name="connsiteY5" fmla="*/ 405845 h 405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37197" h="405844">
                <a:moveTo>
                  <a:pt x="1" y="405845"/>
                </a:moveTo>
                <a:cubicBezTo>
                  <a:pt x="242204" y="318627"/>
                  <a:pt x="459337" y="178708"/>
                  <a:pt x="637485" y="0"/>
                </a:cubicBezTo>
                <a:lnTo>
                  <a:pt x="2232308" y="0"/>
                </a:lnTo>
                <a:lnTo>
                  <a:pt x="2437197" y="202923"/>
                </a:lnTo>
                <a:lnTo>
                  <a:pt x="2232308" y="405845"/>
                </a:lnTo>
                <a:lnTo>
                  <a:pt x="0" y="405845"/>
                </a:lnTo>
                <a:close/>
              </a:path>
            </a:pathLst>
          </a:custGeom>
          <a:solidFill>
            <a:schemeClr val="bg2"/>
          </a:solidFill>
          <a:ln w="1099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1175C44-35B1-EC54-9171-CE3208CB4A63}"/>
              </a:ext>
            </a:extLst>
          </p:cNvPr>
          <p:cNvSpPr/>
          <p:nvPr/>
        </p:nvSpPr>
        <p:spPr>
          <a:xfrm>
            <a:off x="-10598" y="2867169"/>
            <a:ext cx="469728" cy="1571881"/>
          </a:xfrm>
          <a:custGeom>
            <a:avLst/>
            <a:gdLst>
              <a:gd name="connsiteX0" fmla="*/ 0 w 469728"/>
              <a:gd name="connsiteY0" fmla="*/ 0 h 1571881"/>
              <a:gd name="connsiteX1" fmla="*/ 93000 w 469728"/>
              <a:gd name="connsiteY1" fmla="*/ 53693 h 1571881"/>
              <a:gd name="connsiteX2" fmla="*/ 48040 w 469728"/>
              <a:gd name="connsiteY2" fmla="*/ 188913 h 1571881"/>
              <a:gd name="connsiteX3" fmla="*/ 166759 w 469728"/>
              <a:gd name="connsiteY3" fmla="*/ 307631 h 1571881"/>
              <a:gd name="connsiteX4" fmla="*/ 301977 w 469728"/>
              <a:gd name="connsiteY4" fmla="*/ 262670 h 1571881"/>
              <a:gd name="connsiteX5" fmla="*/ 389020 w 469728"/>
              <a:gd name="connsiteY5" fmla="*/ 413432 h 1571881"/>
              <a:gd name="connsiteX6" fmla="*/ 282473 w 469728"/>
              <a:gd name="connsiteY6" fmla="*/ 508054 h 1571881"/>
              <a:gd name="connsiteX7" fmla="*/ 325926 w 469728"/>
              <a:gd name="connsiteY7" fmla="*/ 670227 h 1571881"/>
              <a:gd name="connsiteX8" fmla="*/ 465509 w 469728"/>
              <a:gd name="connsiteY8" fmla="*/ 698898 h 1571881"/>
              <a:gd name="connsiteX9" fmla="*/ 465509 w 469728"/>
              <a:gd name="connsiteY9" fmla="*/ 872983 h 1571881"/>
              <a:gd name="connsiteX10" fmla="*/ 325926 w 469728"/>
              <a:gd name="connsiteY10" fmla="*/ 901655 h 1571881"/>
              <a:gd name="connsiteX11" fmla="*/ 282473 w 469728"/>
              <a:gd name="connsiteY11" fmla="*/ 1063828 h 1571881"/>
              <a:gd name="connsiteX12" fmla="*/ 389020 w 469728"/>
              <a:gd name="connsiteY12" fmla="*/ 1158449 h 1571881"/>
              <a:gd name="connsiteX13" fmla="*/ 301977 w 469728"/>
              <a:gd name="connsiteY13" fmla="*/ 1309213 h 1571881"/>
              <a:gd name="connsiteX14" fmla="*/ 166759 w 469728"/>
              <a:gd name="connsiteY14" fmla="*/ 1264251 h 1571881"/>
              <a:gd name="connsiteX15" fmla="*/ 48040 w 469728"/>
              <a:gd name="connsiteY15" fmla="*/ 1382969 h 1571881"/>
              <a:gd name="connsiteX16" fmla="*/ 93000 w 469728"/>
              <a:gd name="connsiteY16" fmla="*/ 1518188 h 1571881"/>
              <a:gd name="connsiteX17" fmla="*/ 0 w 469728"/>
              <a:gd name="connsiteY17" fmla="*/ 1571881 h 1571881"/>
              <a:gd name="connsiteX18" fmla="*/ 0 w 469728"/>
              <a:gd name="connsiteY18" fmla="*/ 1179286 h 1571881"/>
              <a:gd name="connsiteX19" fmla="*/ 54763 w 469728"/>
              <a:gd name="connsiteY19" fmla="*/ 1112925 h 1571881"/>
              <a:gd name="connsiteX20" fmla="*/ 154728 w 469728"/>
              <a:gd name="connsiteY20" fmla="*/ 785941 h 1571881"/>
              <a:gd name="connsiteX21" fmla="*/ 54763 w 469728"/>
              <a:gd name="connsiteY21" fmla="*/ 458957 h 1571881"/>
              <a:gd name="connsiteX22" fmla="*/ 0 w 469728"/>
              <a:gd name="connsiteY22" fmla="*/ 392596 h 157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69728" h="1571881">
                <a:moveTo>
                  <a:pt x="0" y="0"/>
                </a:moveTo>
                <a:lnTo>
                  <a:pt x="93000" y="53693"/>
                </a:lnTo>
                <a:lnTo>
                  <a:pt x="48040" y="188913"/>
                </a:lnTo>
                <a:cubicBezTo>
                  <a:pt x="91848" y="224009"/>
                  <a:pt x="131660" y="263822"/>
                  <a:pt x="166759" y="307631"/>
                </a:cubicBezTo>
                <a:lnTo>
                  <a:pt x="301977" y="262670"/>
                </a:lnTo>
                <a:cubicBezTo>
                  <a:pt x="335794" y="309992"/>
                  <a:pt x="364945" y="360484"/>
                  <a:pt x="389020" y="413432"/>
                </a:cubicBezTo>
                <a:lnTo>
                  <a:pt x="282473" y="508054"/>
                </a:lnTo>
                <a:cubicBezTo>
                  <a:pt x="302864" y="560353"/>
                  <a:pt x="317436" y="614739"/>
                  <a:pt x="325926" y="670227"/>
                </a:cubicBezTo>
                <a:lnTo>
                  <a:pt x="465509" y="698898"/>
                </a:lnTo>
                <a:cubicBezTo>
                  <a:pt x="471135" y="756789"/>
                  <a:pt x="471135" y="815092"/>
                  <a:pt x="465509" y="872983"/>
                </a:cubicBezTo>
                <a:lnTo>
                  <a:pt x="325926" y="901655"/>
                </a:lnTo>
                <a:cubicBezTo>
                  <a:pt x="317436" y="957144"/>
                  <a:pt x="302864" y="1011528"/>
                  <a:pt x="282473" y="1063828"/>
                </a:cubicBezTo>
                <a:lnTo>
                  <a:pt x="389020" y="1158449"/>
                </a:lnTo>
                <a:cubicBezTo>
                  <a:pt x="364945" y="1211399"/>
                  <a:pt x="335794" y="1261889"/>
                  <a:pt x="301977" y="1309213"/>
                </a:cubicBezTo>
                <a:lnTo>
                  <a:pt x="166759" y="1264251"/>
                </a:lnTo>
                <a:cubicBezTo>
                  <a:pt x="131660" y="1308059"/>
                  <a:pt x="91848" y="1347872"/>
                  <a:pt x="48040" y="1382969"/>
                </a:cubicBezTo>
                <a:lnTo>
                  <a:pt x="93000" y="1518188"/>
                </a:lnTo>
                <a:lnTo>
                  <a:pt x="0" y="1571881"/>
                </a:lnTo>
                <a:lnTo>
                  <a:pt x="0" y="1179286"/>
                </a:lnTo>
                <a:lnTo>
                  <a:pt x="54763" y="1112925"/>
                </a:lnTo>
                <a:cubicBezTo>
                  <a:pt x="117866" y="1019552"/>
                  <a:pt x="154728" y="907017"/>
                  <a:pt x="154728" y="785941"/>
                </a:cubicBezTo>
                <a:cubicBezTo>
                  <a:pt x="154728" y="664865"/>
                  <a:pt x="117866" y="552330"/>
                  <a:pt x="54763" y="458957"/>
                </a:cubicBezTo>
                <a:lnTo>
                  <a:pt x="0" y="392596"/>
                </a:lnTo>
                <a:close/>
              </a:path>
            </a:pathLst>
          </a:custGeom>
          <a:solidFill>
            <a:schemeClr val="bg2"/>
          </a:solidFill>
          <a:ln w="1099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D2249BAF-3018-3F5D-22BE-378AA8B3E360}"/>
              </a:ext>
            </a:extLst>
          </p:cNvPr>
          <p:cNvSpPr/>
          <p:nvPr/>
        </p:nvSpPr>
        <p:spPr>
          <a:xfrm>
            <a:off x="0" y="1908136"/>
            <a:ext cx="1359122" cy="3488624"/>
          </a:xfrm>
          <a:custGeom>
            <a:avLst/>
            <a:gdLst>
              <a:gd name="connsiteX0" fmla="*/ 98679 w 1359122"/>
              <a:gd name="connsiteY0" fmla="*/ 2982669 h 3488624"/>
              <a:gd name="connsiteX1" fmla="*/ 409528 w 1359122"/>
              <a:gd name="connsiteY1" fmla="*/ 3066272 h 3488624"/>
              <a:gd name="connsiteX2" fmla="*/ 329233 w 1359122"/>
              <a:gd name="connsiteY2" fmla="*/ 3372130 h 3488624"/>
              <a:gd name="connsiteX3" fmla="*/ 149129 w 1359122"/>
              <a:gd name="connsiteY3" fmla="*/ 3445890 h 3488624"/>
              <a:gd name="connsiteX4" fmla="*/ 0 w 1359122"/>
              <a:gd name="connsiteY4" fmla="*/ 3488624 h 3488624"/>
              <a:gd name="connsiteX5" fmla="*/ 0 w 1359122"/>
              <a:gd name="connsiteY5" fmla="*/ 3019962 h 3488624"/>
              <a:gd name="connsiteX6" fmla="*/ 1053564 w 1359122"/>
              <a:gd name="connsiteY6" fmla="*/ 1263288 h 3488624"/>
              <a:gd name="connsiteX7" fmla="*/ 1329995 w 1359122"/>
              <a:gd name="connsiteY7" fmla="*/ 1421023 h 3488624"/>
              <a:gd name="connsiteX8" fmla="*/ 1329995 w 1359122"/>
              <a:gd name="connsiteY8" fmla="*/ 1421024 h 3488624"/>
              <a:gd name="connsiteX9" fmla="*/ 1359122 w 1359122"/>
              <a:gd name="connsiteY9" fmla="*/ 1744977 h 3488624"/>
              <a:gd name="connsiteX10" fmla="*/ 421166 w 1359122"/>
              <a:gd name="connsiteY10" fmla="*/ 3325217 h 3488624"/>
              <a:gd name="connsiteX11" fmla="*/ 505102 w 1359122"/>
              <a:gd name="connsiteY11" fmla="*/ 3011094 h 3488624"/>
              <a:gd name="connsiteX12" fmla="*/ 203427 w 1359122"/>
              <a:gd name="connsiteY12" fmla="*/ 2931373 h 3488624"/>
              <a:gd name="connsiteX13" fmla="*/ 909124 w 1359122"/>
              <a:gd name="connsiteY13" fmla="*/ 1744976 h 3488624"/>
              <a:gd name="connsiteX14" fmla="*/ 893595 w 1359122"/>
              <a:gd name="connsiteY14" fmla="*/ 1539764 h 3488624"/>
              <a:gd name="connsiteX15" fmla="*/ 0 w 1359122"/>
              <a:gd name="connsiteY15" fmla="*/ 0 h 3488624"/>
              <a:gd name="connsiteX16" fmla="*/ 123180 w 1359122"/>
              <a:gd name="connsiteY16" fmla="*/ 35264 h 3488624"/>
              <a:gd name="connsiteX17" fmla="*/ 1308611 w 1359122"/>
              <a:gd name="connsiteY17" fmla="*/ 1320173 h 3488624"/>
              <a:gd name="connsiteX18" fmla="*/ 1025000 w 1359122"/>
              <a:gd name="connsiteY18" fmla="*/ 1156693 h 3488624"/>
              <a:gd name="connsiteX19" fmla="*/ 871028 w 1359122"/>
              <a:gd name="connsiteY19" fmla="*/ 1425508 h 3488624"/>
              <a:gd name="connsiteX20" fmla="*/ 113594 w 1359122"/>
              <a:gd name="connsiteY20" fmla="*/ 513918 h 3488624"/>
              <a:gd name="connsiteX21" fmla="*/ 0 w 1359122"/>
              <a:gd name="connsiteY21" fmla="*/ 472843 h 3488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359122" h="3488624">
                <a:moveTo>
                  <a:pt x="98679" y="2982669"/>
                </a:moveTo>
                <a:lnTo>
                  <a:pt x="409528" y="3066272"/>
                </a:lnTo>
                <a:lnTo>
                  <a:pt x="329233" y="3372130"/>
                </a:lnTo>
                <a:cubicBezTo>
                  <a:pt x="270854" y="3399836"/>
                  <a:pt x="210751" y="3424491"/>
                  <a:pt x="149129" y="3445890"/>
                </a:cubicBezTo>
                <a:lnTo>
                  <a:pt x="0" y="3488624"/>
                </a:lnTo>
                <a:lnTo>
                  <a:pt x="0" y="3019962"/>
                </a:lnTo>
                <a:close/>
                <a:moveTo>
                  <a:pt x="1053564" y="1263288"/>
                </a:moveTo>
                <a:lnTo>
                  <a:pt x="1329995" y="1421023"/>
                </a:lnTo>
                <a:lnTo>
                  <a:pt x="1329995" y="1421024"/>
                </a:lnTo>
                <a:cubicBezTo>
                  <a:pt x="1349131" y="1526151"/>
                  <a:pt x="1359122" y="1634406"/>
                  <a:pt x="1359122" y="1744977"/>
                </a:cubicBezTo>
                <a:cubicBezTo>
                  <a:pt x="1359122" y="2426183"/>
                  <a:pt x="979894" y="3019516"/>
                  <a:pt x="421166" y="3325217"/>
                </a:cubicBezTo>
                <a:lnTo>
                  <a:pt x="505102" y="3011094"/>
                </a:lnTo>
                <a:lnTo>
                  <a:pt x="203427" y="2931373"/>
                </a:lnTo>
                <a:cubicBezTo>
                  <a:pt x="623706" y="2702436"/>
                  <a:pt x="909124" y="2256775"/>
                  <a:pt x="909124" y="1744976"/>
                </a:cubicBezTo>
                <a:cubicBezTo>
                  <a:pt x="909124" y="1675237"/>
                  <a:pt x="903824" y="1606724"/>
                  <a:pt x="893595" y="1539764"/>
                </a:cubicBezTo>
                <a:close/>
                <a:moveTo>
                  <a:pt x="0" y="0"/>
                </a:moveTo>
                <a:lnTo>
                  <a:pt x="123180" y="35264"/>
                </a:lnTo>
                <a:cubicBezTo>
                  <a:pt x="708854" y="228624"/>
                  <a:pt x="1161903" y="714814"/>
                  <a:pt x="1308611" y="1320173"/>
                </a:cubicBezTo>
                <a:lnTo>
                  <a:pt x="1025000" y="1156693"/>
                </a:lnTo>
                <a:lnTo>
                  <a:pt x="871028" y="1425508"/>
                </a:lnTo>
                <a:cubicBezTo>
                  <a:pt x="772067" y="1018308"/>
                  <a:pt x="488242" y="683092"/>
                  <a:pt x="113594" y="513918"/>
                </a:cubicBezTo>
                <a:lnTo>
                  <a:pt x="0" y="472843"/>
                </a:lnTo>
                <a:close/>
              </a:path>
            </a:pathLst>
          </a:custGeom>
          <a:solidFill>
            <a:schemeClr val="bg2"/>
          </a:solidFill>
          <a:ln w="1099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751067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4C7A3F-95E7-CC7C-8AE9-7D95618DBF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4C7A3F-95E7-CC7C-8AE9-7D95618DB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53F77-F39C-D422-88CB-7612EEFD6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um process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57F341EB-F9D5-113C-D917-C17DF52500C2}"/>
              </a:ext>
            </a:extLst>
          </p:cNvPr>
          <p:cNvSpPr/>
          <p:nvPr/>
        </p:nvSpPr>
        <p:spPr>
          <a:xfrm>
            <a:off x="6627403" y="4932512"/>
            <a:ext cx="2295833" cy="382300"/>
          </a:xfrm>
          <a:custGeom>
            <a:avLst/>
            <a:gdLst>
              <a:gd name="connsiteX0" fmla="*/ 0 w 2295833"/>
              <a:gd name="connsiteY0" fmla="*/ 382301 h 382300"/>
              <a:gd name="connsiteX1" fmla="*/ 600511 w 2295833"/>
              <a:gd name="connsiteY1" fmla="*/ 0 h 382300"/>
              <a:gd name="connsiteX2" fmla="*/ 2102835 w 2295833"/>
              <a:gd name="connsiteY2" fmla="*/ 0 h 382300"/>
              <a:gd name="connsiteX3" fmla="*/ 2295834 w 2295833"/>
              <a:gd name="connsiteY3" fmla="*/ 191145 h 382300"/>
              <a:gd name="connsiteX4" fmla="*/ 2102835 w 2295833"/>
              <a:gd name="connsiteY4" fmla="*/ 382301 h 382300"/>
              <a:gd name="connsiteX5" fmla="*/ 0 w 2295833"/>
              <a:gd name="connsiteY5" fmla="*/ 382301 h 38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5833" h="382300">
                <a:moveTo>
                  <a:pt x="0" y="382301"/>
                </a:moveTo>
                <a:cubicBezTo>
                  <a:pt x="228154" y="300142"/>
                  <a:pt x="432692" y="168337"/>
                  <a:pt x="600511" y="0"/>
                </a:cubicBezTo>
                <a:lnTo>
                  <a:pt x="2102835" y="0"/>
                </a:lnTo>
                <a:lnTo>
                  <a:pt x="2295834" y="191145"/>
                </a:lnTo>
                <a:lnTo>
                  <a:pt x="2102835" y="382301"/>
                </a:lnTo>
                <a:lnTo>
                  <a:pt x="0" y="382301"/>
                </a:lnTo>
                <a:close/>
              </a:path>
            </a:pathLst>
          </a:custGeom>
          <a:solidFill>
            <a:srgbClr val="5C154F"/>
          </a:solidFill>
          <a:ln w="1035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2D68B27-D4B7-B268-5206-7BA3222F01F6}"/>
              </a:ext>
            </a:extLst>
          </p:cNvPr>
          <p:cNvSpPr/>
          <p:nvPr/>
        </p:nvSpPr>
        <p:spPr>
          <a:xfrm>
            <a:off x="4566777" y="2256377"/>
            <a:ext cx="3058446" cy="3058445"/>
          </a:xfrm>
          <a:custGeom>
            <a:avLst/>
            <a:gdLst>
              <a:gd name="connsiteX0" fmla="*/ 419133 w 3058446"/>
              <a:gd name="connsiteY0" fmla="*/ 2580562 h 3058445"/>
              <a:gd name="connsiteX1" fmla="*/ 0 w 3058446"/>
              <a:gd name="connsiteY1" fmla="*/ 1529223 h 3058445"/>
              <a:gd name="connsiteX2" fmla="*/ 1529223 w 3058446"/>
              <a:gd name="connsiteY2" fmla="*/ 0 h 3058445"/>
              <a:gd name="connsiteX3" fmla="*/ 3058446 w 3058446"/>
              <a:gd name="connsiteY3" fmla="*/ 1529223 h 3058445"/>
              <a:gd name="connsiteX4" fmla="*/ 1529223 w 3058446"/>
              <a:gd name="connsiteY4" fmla="*/ 3058446 h 3058445"/>
              <a:gd name="connsiteX5" fmla="*/ 518155 w 3058446"/>
              <a:gd name="connsiteY5" fmla="*/ 3058446 h 3058445"/>
              <a:gd name="connsiteX6" fmla="*/ 711092 w 3058446"/>
              <a:gd name="connsiteY6" fmla="*/ 2867290 h 3058445"/>
              <a:gd name="connsiteX7" fmla="*/ 518155 w 3058446"/>
              <a:gd name="connsiteY7" fmla="*/ 2676145 h 3058445"/>
              <a:gd name="connsiteX8" fmla="*/ 1529223 w 3058446"/>
              <a:gd name="connsiteY8" fmla="*/ 2676145 h 3058445"/>
              <a:gd name="connsiteX9" fmla="*/ 2676136 w 3058446"/>
              <a:gd name="connsiteY9" fmla="*/ 1529233 h 3058445"/>
              <a:gd name="connsiteX10" fmla="*/ 1529223 w 3058446"/>
              <a:gd name="connsiteY10" fmla="*/ 382321 h 3058445"/>
              <a:gd name="connsiteX11" fmla="*/ 382311 w 3058446"/>
              <a:gd name="connsiteY11" fmla="*/ 1529233 h 3058445"/>
              <a:gd name="connsiteX12" fmla="*/ 1070460 w 3058446"/>
              <a:gd name="connsiteY12" fmla="*/ 2580573 h 3058445"/>
              <a:gd name="connsiteX13" fmla="*/ 419144 w 3058446"/>
              <a:gd name="connsiteY13" fmla="*/ 2580573 h 3058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58446" h="3058445">
                <a:moveTo>
                  <a:pt x="419133" y="2580562"/>
                </a:moveTo>
                <a:cubicBezTo>
                  <a:pt x="159398" y="2306409"/>
                  <a:pt x="0" y="1936289"/>
                  <a:pt x="0" y="1529223"/>
                </a:cubicBezTo>
                <a:cubicBezTo>
                  <a:pt x="0" y="685218"/>
                  <a:pt x="685218" y="0"/>
                  <a:pt x="1529223" y="0"/>
                </a:cubicBezTo>
                <a:cubicBezTo>
                  <a:pt x="2373228" y="0"/>
                  <a:pt x="3058446" y="685218"/>
                  <a:pt x="3058446" y="1529223"/>
                </a:cubicBezTo>
                <a:cubicBezTo>
                  <a:pt x="3058446" y="2373228"/>
                  <a:pt x="2373228" y="3058446"/>
                  <a:pt x="1529223" y="3058446"/>
                </a:cubicBezTo>
                <a:lnTo>
                  <a:pt x="518155" y="3058446"/>
                </a:lnTo>
                <a:lnTo>
                  <a:pt x="711092" y="2867290"/>
                </a:lnTo>
                <a:lnTo>
                  <a:pt x="518155" y="2676145"/>
                </a:lnTo>
                <a:lnTo>
                  <a:pt x="1529223" y="2676145"/>
                </a:lnTo>
                <a:cubicBezTo>
                  <a:pt x="2162227" y="2676145"/>
                  <a:pt x="2676136" y="2162227"/>
                  <a:pt x="2676136" y="1529233"/>
                </a:cubicBezTo>
                <a:cubicBezTo>
                  <a:pt x="2676136" y="896230"/>
                  <a:pt x="2162217" y="382321"/>
                  <a:pt x="1529223" y="382321"/>
                </a:cubicBezTo>
                <a:cubicBezTo>
                  <a:pt x="896219" y="382321"/>
                  <a:pt x="382311" y="896230"/>
                  <a:pt x="382311" y="1529233"/>
                </a:cubicBezTo>
                <a:cubicBezTo>
                  <a:pt x="382311" y="1999172"/>
                  <a:pt x="665559" y="2403473"/>
                  <a:pt x="1070460" y="2580573"/>
                </a:cubicBezTo>
                <a:lnTo>
                  <a:pt x="419144" y="2580573"/>
                </a:lnTo>
                <a:close/>
              </a:path>
            </a:pathLst>
          </a:custGeom>
          <a:solidFill>
            <a:srgbClr val="005194"/>
          </a:solidFill>
          <a:ln w="1035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6F9A4AC-B8ED-8AE6-6874-6BB40067B4AA}"/>
              </a:ext>
            </a:extLst>
          </p:cNvPr>
          <p:cNvSpPr/>
          <p:nvPr/>
        </p:nvSpPr>
        <p:spPr>
          <a:xfrm>
            <a:off x="6817202" y="1535178"/>
            <a:ext cx="1529223" cy="1529220"/>
          </a:xfrm>
          <a:custGeom>
            <a:avLst/>
            <a:gdLst>
              <a:gd name="connsiteX0" fmla="*/ 763244 w 1529223"/>
              <a:gd name="connsiteY0" fmla="*/ 1338065 h 1529220"/>
              <a:gd name="connsiteX1" fmla="*/ 764612 w 1529223"/>
              <a:gd name="connsiteY1" fmla="*/ 1338065 h 1529220"/>
              <a:gd name="connsiteX2" fmla="*/ 1338067 w 1529223"/>
              <a:gd name="connsiteY2" fmla="*/ 764610 h 1529220"/>
              <a:gd name="connsiteX3" fmla="*/ 764612 w 1529223"/>
              <a:gd name="connsiteY3" fmla="*/ 191153 h 1529220"/>
              <a:gd name="connsiteX4" fmla="*/ 191155 w 1529223"/>
              <a:gd name="connsiteY4" fmla="*/ 764610 h 1529220"/>
              <a:gd name="connsiteX5" fmla="*/ 222312 w 1529223"/>
              <a:gd name="connsiteY5" fmla="*/ 951405 h 1529220"/>
              <a:gd name="connsiteX6" fmla="*/ 1740 w 1529223"/>
              <a:gd name="connsiteY6" fmla="*/ 816543 h 1529220"/>
              <a:gd name="connsiteX7" fmla="*/ 0 w 1529223"/>
              <a:gd name="connsiteY7" fmla="*/ 764610 h 1529220"/>
              <a:gd name="connsiteX8" fmla="*/ 764612 w 1529223"/>
              <a:gd name="connsiteY8" fmla="*/ 0 h 1529220"/>
              <a:gd name="connsiteX9" fmla="*/ 1529223 w 1529223"/>
              <a:gd name="connsiteY9" fmla="*/ 764610 h 1529220"/>
              <a:gd name="connsiteX10" fmla="*/ 764612 w 1529223"/>
              <a:gd name="connsiteY10" fmla="*/ 1529221 h 1529220"/>
              <a:gd name="connsiteX11" fmla="*/ 745418 w 1529223"/>
              <a:gd name="connsiteY11" fmla="*/ 1528983 h 1529220"/>
              <a:gd name="connsiteX12" fmla="*/ 659147 w 1529223"/>
              <a:gd name="connsiteY12" fmla="*/ 1425756 h 1529220"/>
              <a:gd name="connsiteX13" fmla="*/ 763244 w 1529223"/>
              <a:gd name="connsiteY13" fmla="*/ 1338065 h 1529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29223" h="1529220">
                <a:moveTo>
                  <a:pt x="763244" y="1338065"/>
                </a:moveTo>
                <a:lnTo>
                  <a:pt x="764612" y="1338065"/>
                </a:lnTo>
                <a:cubicBezTo>
                  <a:pt x="1081108" y="1338065"/>
                  <a:pt x="1338067" y="1081116"/>
                  <a:pt x="1338067" y="764610"/>
                </a:cubicBezTo>
                <a:cubicBezTo>
                  <a:pt x="1338067" y="448111"/>
                  <a:pt x="1081108" y="191153"/>
                  <a:pt x="764612" y="191153"/>
                </a:cubicBezTo>
                <a:cubicBezTo>
                  <a:pt x="448115" y="191153"/>
                  <a:pt x="191155" y="448111"/>
                  <a:pt x="191155" y="764610"/>
                </a:cubicBezTo>
                <a:cubicBezTo>
                  <a:pt x="191155" y="830000"/>
                  <a:pt x="202124" y="892848"/>
                  <a:pt x="222312" y="951405"/>
                </a:cubicBezTo>
                <a:cubicBezTo>
                  <a:pt x="152779" y="900796"/>
                  <a:pt x="79041" y="855631"/>
                  <a:pt x="1740" y="816543"/>
                </a:cubicBezTo>
                <a:cubicBezTo>
                  <a:pt x="590" y="799416"/>
                  <a:pt x="0" y="782082"/>
                  <a:pt x="0" y="764610"/>
                </a:cubicBezTo>
                <a:cubicBezTo>
                  <a:pt x="0" y="342611"/>
                  <a:pt x="342609" y="0"/>
                  <a:pt x="764612" y="0"/>
                </a:cubicBezTo>
                <a:cubicBezTo>
                  <a:pt x="1186614" y="0"/>
                  <a:pt x="1529223" y="342611"/>
                  <a:pt x="1529223" y="764610"/>
                </a:cubicBezTo>
                <a:cubicBezTo>
                  <a:pt x="1529223" y="1186612"/>
                  <a:pt x="1186614" y="1529221"/>
                  <a:pt x="764612" y="1529221"/>
                </a:cubicBezTo>
                <a:cubicBezTo>
                  <a:pt x="758189" y="1529221"/>
                  <a:pt x="751799" y="1529138"/>
                  <a:pt x="745418" y="1528983"/>
                </a:cubicBezTo>
                <a:lnTo>
                  <a:pt x="659147" y="1425756"/>
                </a:lnTo>
                <a:lnTo>
                  <a:pt x="763244" y="1338065"/>
                </a:lnTo>
                <a:close/>
              </a:path>
            </a:pathLst>
          </a:custGeom>
          <a:solidFill>
            <a:srgbClr val="005194"/>
          </a:solidFill>
          <a:ln w="1035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0D0C06C-EF8F-73B8-FA7A-5A3E9504E905}"/>
              </a:ext>
            </a:extLst>
          </p:cNvPr>
          <p:cNvSpPr/>
          <p:nvPr/>
        </p:nvSpPr>
        <p:spPr>
          <a:xfrm>
            <a:off x="2410091" y="4058395"/>
            <a:ext cx="2770207" cy="1256426"/>
          </a:xfrm>
          <a:custGeom>
            <a:avLst/>
            <a:gdLst>
              <a:gd name="connsiteX0" fmla="*/ 0 w 2770207"/>
              <a:gd name="connsiteY0" fmla="*/ 0 h 1256426"/>
              <a:gd name="connsiteX1" fmla="*/ 191152 w 2770207"/>
              <a:gd name="connsiteY1" fmla="*/ 190669 h 1256426"/>
              <a:gd name="connsiteX2" fmla="*/ 382305 w 2770207"/>
              <a:gd name="connsiteY2" fmla="*/ 0 h 1256426"/>
              <a:gd name="connsiteX3" fmla="*/ 382305 w 2770207"/>
              <a:gd name="connsiteY3" fmla="*/ 874117 h 1256426"/>
              <a:gd name="connsiteX4" fmla="*/ 1975866 w 2770207"/>
              <a:gd name="connsiteY4" fmla="*/ 874117 h 1256426"/>
              <a:gd name="connsiteX5" fmla="*/ 1975866 w 2770207"/>
              <a:gd name="connsiteY5" fmla="*/ 874116 h 1256426"/>
              <a:gd name="connsiteX6" fmla="*/ 2579798 w 2770207"/>
              <a:gd name="connsiteY6" fmla="*/ 874116 h 1256426"/>
              <a:gd name="connsiteX7" fmla="*/ 2770207 w 2770207"/>
              <a:gd name="connsiteY7" fmla="*/ 1065261 h 1256426"/>
              <a:gd name="connsiteX8" fmla="*/ 2579798 w 2770207"/>
              <a:gd name="connsiteY8" fmla="*/ 1256417 h 1256426"/>
              <a:gd name="connsiteX9" fmla="*/ 2054183 w 2770207"/>
              <a:gd name="connsiteY9" fmla="*/ 1256417 h 1256426"/>
              <a:gd name="connsiteX10" fmla="*/ 2054182 w 2770207"/>
              <a:gd name="connsiteY10" fmla="*/ 1256418 h 1256426"/>
              <a:gd name="connsiteX11" fmla="*/ 1383899 w 2770207"/>
              <a:gd name="connsiteY11" fmla="*/ 1256418 h 1256426"/>
              <a:gd name="connsiteX12" fmla="*/ 1288824 w 2770207"/>
              <a:gd name="connsiteY12" fmla="*/ 1161715 h 1256426"/>
              <a:gd name="connsiteX13" fmla="*/ 1193749 w 2770207"/>
              <a:gd name="connsiteY13" fmla="*/ 1256418 h 1256426"/>
              <a:gd name="connsiteX14" fmla="*/ 574213 w 2770207"/>
              <a:gd name="connsiteY14" fmla="*/ 1256418 h 1256426"/>
              <a:gd name="connsiteX15" fmla="*/ 574205 w 2770207"/>
              <a:gd name="connsiteY15" fmla="*/ 1256426 h 1256426"/>
              <a:gd name="connsiteX16" fmla="*/ 0 w 2770207"/>
              <a:gd name="connsiteY16" fmla="*/ 1256426 h 1256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70207" h="1256426">
                <a:moveTo>
                  <a:pt x="0" y="0"/>
                </a:moveTo>
                <a:lnTo>
                  <a:pt x="191152" y="190669"/>
                </a:lnTo>
                <a:lnTo>
                  <a:pt x="382305" y="0"/>
                </a:lnTo>
                <a:lnTo>
                  <a:pt x="382305" y="874117"/>
                </a:lnTo>
                <a:lnTo>
                  <a:pt x="1975866" y="874117"/>
                </a:lnTo>
                <a:lnTo>
                  <a:pt x="1975866" y="874116"/>
                </a:lnTo>
                <a:lnTo>
                  <a:pt x="2579798" y="874116"/>
                </a:lnTo>
                <a:lnTo>
                  <a:pt x="2770207" y="1065261"/>
                </a:lnTo>
                <a:lnTo>
                  <a:pt x="2579798" y="1256417"/>
                </a:lnTo>
                <a:lnTo>
                  <a:pt x="2054183" y="1256417"/>
                </a:lnTo>
                <a:lnTo>
                  <a:pt x="2054182" y="1256418"/>
                </a:lnTo>
                <a:lnTo>
                  <a:pt x="1383899" y="1256418"/>
                </a:lnTo>
                <a:lnTo>
                  <a:pt x="1288824" y="1161715"/>
                </a:lnTo>
                <a:lnTo>
                  <a:pt x="1193749" y="1256418"/>
                </a:lnTo>
                <a:lnTo>
                  <a:pt x="574213" y="1256418"/>
                </a:lnTo>
                <a:lnTo>
                  <a:pt x="574205" y="1256426"/>
                </a:lnTo>
                <a:lnTo>
                  <a:pt x="0" y="1256426"/>
                </a:lnTo>
                <a:close/>
              </a:path>
            </a:pathLst>
          </a:custGeom>
          <a:solidFill>
            <a:srgbClr val="005D39"/>
          </a:solidFill>
          <a:ln w="1035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DBB007CA-B3C3-A320-5B0A-45486536665F}"/>
              </a:ext>
            </a:extLst>
          </p:cNvPr>
          <p:cNvSpPr txBox="1">
            <a:spLocks/>
          </p:cNvSpPr>
          <p:nvPr/>
        </p:nvSpPr>
        <p:spPr>
          <a:xfrm>
            <a:off x="6644833" y="6156000"/>
            <a:ext cx="31370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Review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7804FB2-37A7-D305-E787-3002A7BDC0C1}"/>
              </a:ext>
            </a:extLst>
          </p:cNvPr>
          <p:cNvSpPr/>
          <p:nvPr/>
        </p:nvSpPr>
        <p:spPr>
          <a:xfrm>
            <a:off x="2410091" y="2796791"/>
            <a:ext cx="382304" cy="1356691"/>
          </a:xfrm>
          <a:custGeom>
            <a:avLst/>
            <a:gdLst>
              <a:gd name="connsiteX0" fmla="*/ 382305 w 382304"/>
              <a:gd name="connsiteY0" fmla="*/ 0 h 1356691"/>
              <a:gd name="connsiteX1" fmla="*/ 191152 w 382304"/>
              <a:gd name="connsiteY1" fmla="*/ 190669 h 1356691"/>
              <a:gd name="connsiteX2" fmla="*/ 0 w 382304"/>
              <a:gd name="connsiteY2" fmla="*/ 0 h 1356691"/>
              <a:gd name="connsiteX3" fmla="*/ 0 w 382304"/>
              <a:gd name="connsiteY3" fmla="*/ 1166292 h 1356691"/>
              <a:gd name="connsiteX4" fmla="*/ 191152 w 382304"/>
              <a:gd name="connsiteY4" fmla="*/ 1356691 h 1356691"/>
              <a:gd name="connsiteX5" fmla="*/ 382305 w 382304"/>
              <a:gd name="connsiteY5" fmla="*/ 1166292 h 1356691"/>
              <a:gd name="connsiteX6" fmla="*/ 382305 w 382304"/>
              <a:gd name="connsiteY6" fmla="*/ 0 h 1356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2304" h="1356691">
                <a:moveTo>
                  <a:pt x="382305" y="0"/>
                </a:moveTo>
                <a:lnTo>
                  <a:pt x="191152" y="190669"/>
                </a:lnTo>
                <a:lnTo>
                  <a:pt x="0" y="0"/>
                </a:lnTo>
                <a:lnTo>
                  <a:pt x="0" y="1166292"/>
                </a:lnTo>
                <a:lnTo>
                  <a:pt x="191152" y="1356691"/>
                </a:lnTo>
                <a:lnTo>
                  <a:pt x="382305" y="1166292"/>
                </a:lnTo>
                <a:lnTo>
                  <a:pt x="382305" y="0"/>
                </a:lnTo>
                <a:close/>
              </a:path>
            </a:pathLst>
          </a:custGeom>
          <a:solidFill>
            <a:srgbClr val="005D39"/>
          </a:solidFill>
          <a:ln w="1035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AE5679E-601E-5656-4D43-EB3CAFBF95B3}"/>
              </a:ext>
            </a:extLst>
          </p:cNvPr>
          <p:cNvSpPr/>
          <p:nvPr/>
        </p:nvSpPr>
        <p:spPr>
          <a:xfrm>
            <a:off x="2410091" y="1529997"/>
            <a:ext cx="382304" cy="1365702"/>
          </a:xfrm>
          <a:custGeom>
            <a:avLst/>
            <a:gdLst>
              <a:gd name="connsiteX0" fmla="*/ 382305 w 382304"/>
              <a:gd name="connsiteY0" fmla="*/ 0 h 1365702"/>
              <a:gd name="connsiteX1" fmla="*/ 0 w 382304"/>
              <a:gd name="connsiteY1" fmla="*/ 0 h 1365702"/>
              <a:gd name="connsiteX2" fmla="*/ 0 w 382304"/>
              <a:gd name="connsiteY2" fmla="*/ 1175293 h 1365702"/>
              <a:gd name="connsiteX3" fmla="*/ 191152 w 382304"/>
              <a:gd name="connsiteY3" fmla="*/ 1365702 h 1365702"/>
              <a:gd name="connsiteX4" fmla="*/ 382305 w 382304"/>
              <a:gd name="connsiteY4" fmla="*/ 1175293 h 1365702"/>
              <a:gd name="connsiteX5" fmla="*/ 382305 w 382304"/>
              <a:gd name="connsiteY5" fmla="*/ 0 h 1365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2304" h="1365702">
                <a:moveTo>
                  <a:pt x="382305" y="0"/>
                </a:moveTo>
                <a:lnTo>
                  <a:pt x="0" y="0"/>
                </a:lnTo>
                <a:lnTo>
                  <a:pt x="0" y="1175293"/>
                </a:lnTo>
                <a:lnTo>
                  <a:pt x="191152" y="1365702"/>
                </a:lnTo>
                <a:lnTo>
                  <a:pt x="382305" y="1175293"/>
                </a:lnTo>
                <a:lnTo>
                  <a:pt x="382305" y="0"/>
                </a:lnTo>
                <a:close/>
              </a:path>
            </a:pathLst>
          </a:custGeom>
          <a:solidFill>
            <a:schemeClr val="tx2"/>
          </a:solidFill>
          <a:ln w="1035" cap="flat">
            <a:noFill/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64F6487A-699F-2EF9-60E1-D70A3A708239}"/>
              </a:ext>
            </a:extLst>
          </p:cNvPr>
          <p:cNvSpPr txBox="1">
            <a:spLocks/>
          </p:cNvSpPr>
          <p:nvPr/>
        </p:nvSpPr>
        <p:spPr>
          <a:xfrm>
            <a:off x="6951813" y="2022789"/>
            <a:ext cx="126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Daily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Scrum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E984071F-A652-4208-6D3A-15EA0D600509}"/>
              </a:ext>
            </a:extLst>
          </p:cNvPr>
          <p:cNvSpPr txBox="1">
            <a:spLocks/>
          </p:cNvSpPr>
          <p:nvPr/>
        </p:nvSpPr>
        <p:spPr>
          <a:xfrm>
            <a:off x="5376000" y="3508600"/>
            <a:ext cx="144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b="1" kern="0">
                <a:solidFill>
                  <a:schemeClr val="tx1"/>
                </a:solidFill>
                <a:latin typeface="+mn-lt"/>
              </a:rPr>
              <a:t>Sprint</a:t>
            </a:r>
            <a:r>
              <a:rPr lang="en-GB" kern="0">
                <a:solidFill>
                  <a:schemeClr val="tx1"/>
                </a:solidFill>
                <a:latin typeface="+mn-lt"/>
              </a:rPr>
              <a:t> 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1 – 4 Weeks</a:t>
            </a:r>
          </a:p>
        </p:txBody>
      </p:sp>
      <p:sp>
        <p:nvSpPr>
          <p:cNvPr id="31" name="Inhaltsplatzhalter 1">
            <a:extLst>
              <a:ext uri="{FF2B5EF4-FFF2-40B4-BE49-F238E27FC236}">
                <a16:creationId xmlns:a16="http://schemas.microsoft.com/office/drawing/2014/main" id="{D79D927D-BD21-904B-82B7-18201E8AC94E}"/>
              </a:ext>
            </a:extLst>
          </p:cNvPr>
          <p:cNvSpPr txBox="1">
            <a:spLocks/>
          </p:cNvSpPr>
          <p:nvPr/>
        </p:nvSpPr>
        <p:spPr>
          <a:xfrm>
            <a:off x="7820253" y="3508600"/>
            <a:ext cx="126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Product Increment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94D015A-1EBB-842E-E4F0-DB9FAD60C3E2}"/>
              </a:ext>
            </a:extLst>
          </p:cNvPr>
          <p:cNvCxnSpPr>
            <a:cxnSpLocks/>
          </p:cNvCxnSpPr>
          <p:nvPr/>
        </p:nvCxnSpPr>
        <p:spPr bwMode="auto">
          <a:xfrm flipV="1">
            <a:off x="8450253" y="4159284"/>
            <a:ext cx="0" cy="77322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154F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83F1F3E3-1099-7A96-1ABD-09AB1F3C1DAD}"/>
              </a:ext>
            </a:extLst>
          </p:cNvPr>
          <p:cNvSpPr txBox="1">
            <a:spLocks/>
          </p:cNvSpPr>
          <p:nvPr/>
        </p:nvSpPr>
        <p:spPr>
          <a:xfrm flipH="1">
            <a:off x="3281947" y="2071124"/>
            <a:ext cx="93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Vision</a:t>
            </a:r>
          </a:p>
        </p:txBody>
      </p: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85FB0C07-E433-4387-C9E5-819271A40823}"/>
              </a:ext>
            </a:extLst>
          </p:cNvPr>
          <p:cNvSpPr txBox="1">
            <a:spLocks/>
          </p:cNvSpPr>
          <p:nvPr/>
        </p:nvSpPr>
        <p:spPr>
          <a:xfrm flipH="1">
            <a:off x="3281947" y="3332728"/>
            <a:ext cx="93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Goal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B34A5C0-2342-8A38-779E-7461292DA5A1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2993947" y="2032848"/>
            <a:ext cx="0" cy="360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A8119CE-F836-AB9A-472B-DFD9BA57B88D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2993947" y="3295135"/>
            <a:ext cx="0" cy="360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5D39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Inhaltsplatzhalter 1">
            <a:extLst>
              <a:ext uri="{FF2B5EF4-FFF2-40B4-BE49-F238E27FC236}">
                <a16:creationId xmlns:a16="http://schemas.microsoft.com/office/drawing/2014/main" id="{1ED17AF2-4286-5794-FD1E-536A4C7ABD2F}"/>
              </a:ext>
            </a:extLst>
          </p:cNvPr>
          <p:cNvSpPr txBox="1">
            <a:spLocks/>
          </p:cNvSpPr>
          <p:nvPr/>
        </p:nvSpPr>
        <p:spPr>
          <a:xfrm flipH="1">
            <a:off x="3281947" y="4086883"/>
            <a:ext cx="936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Product Backlog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BFFB2AA-8B21-DFF2-DD8B-31784C60EF57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2993947" y="4186171"/>
            <a:ext cx="0" cy="360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5D39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21293C40-C9A2-B6C8-7D51-66E240421D55}"/>
              </a:ext>
            </a:extLst>
          </p:cNvPr>
          <p:cNvSpPr/>
          <p:nvPr/>
        </p:nvSpPr>
        <p:spPr>
          <a:xfrm>
            <a:off x="6541200" y="4932510"/>
            <a:ext cx="3240709" cy="1146912"/>
          </a:xfrm>
          <a:custGeom>
            <a:avLst/>
            <a:gdLst>
              <a:gd name="connsiteX0" fmla="*/ 2284942 w 3240709"/>
              <a:gd name="connsiteY0" fmla="*/ 0 h 1146912"/>
              <a:gd name="connsiteX1" fmla="*/ 3240709 w 3240709"/>
              <a:gd name="connsiteY1" fmla="*/ 0 h 1146912"/>
              <a:gd name="connsiteX2" fmla="*/ 3240709 w 3240709"/>
              <a:gd name="connsiteY2" fmla="*/ 1146912 h 1146912"/>
              <a:gd name="connsiteX3" fmla="*/ 1978579 w 3240709"/>
              <a:gd name="connsiteY3" fmla="*/ 1146912 h 1146912"/>
              <a:gd name="connsiteX4" fmla="*/ 1084023 w 3240709"/>
              <a:gd name="connsiteY4" fmla="*/ 1146912 h 1146912"/>
              <a:gd name="connsiteX5" fmla="*/ 190410 w 3240709"/>
              <a:gd name="connsiteY5" fmla="*/ 1146912 h 1146912"/>
              <a:gd name="connsiteX6" fmla="*/ 0 w 3240709"/>
              <a:gd name="connsiteY6" fmla="*/ 955767 h 1146912"/>
              <a:gd name="connsiteX7" fmla="*/ 190410 w 3240709"/>
              <a:gd name="connsiteY7" fmla="*/ 764611 h 1146912"/>
              <a:gd name="connsiteX8" fmla="*/ 1084023 w 3240709"/>
              <a:gd name="connsiteY8" fmla="*/ 764611 h 1146912"/>
              <a:gd name="connsiteX9" fmla="*/ 1978579 w 3240709"/>
              <a:gd name="connsiteY9" fmla="*/ 764611 h 1146912"/>
              <a:gd name="connsiteX10" fmla="*/ 2858407 w 3240709"/>
              <a:gd name="connsiteY10" fmla="*/ 764611 h 1146912"/>
              <a:gd name="connsiteX11" fmla="*/ 2858407 w 3240709"/>
              <a:gd name="connsiteY11" fmla="*/ 382301 h 1146912"/>
              <a:gd name="connsiteX12" fmla="*/ 2284942 w 3240709"/>
              <a:gd name="connsiteY12" fmla="*/ 382301 h 1146912"/>
              <a:gd name="connsiteX13" fmla="*/ 2475434 w 3240709"/>
              <a:gd name="connsiteY13" fmla="*/ 191156 h 1146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40709" h="1146912">
                <a:moveTo>
                  <a:pt x="2284942" y="0"/>
                </a:moveTo>
                <a:lnTo>
                  <a:pt x="3240709" y="0"/>
                </a:lnTo>
                <a:lnTo>
                  <a:pt x="3240709" y="1146912"/>
                </a:lnTo>
                <a:lnTo>
                  <a:pt x="1978579" y="1146912"/>
                </a:lnTo>
                <a:lnTo>
                  <a:pt x="1084023" y="1146912"/>
                </a:lnTo>
                <a:lnTo>
                  <a:pt x="190410" y="1146912"/>
                </a:lnTo>
                <a:lnTo>
                  <a:pt x="0" y="955767"/>
                </a:lnTo>
                <a:lnTo>
                  <a:pt x="190410" y="764611"/>
                </a:lnTo>
                <a:lnTo>
                  <a:pt x="1084023" y="764611"/>
                </a:lnTo>
                <a:lnTo>
                  <a:pt x="1978579" y="764611"/>
                </a:lnTo>
                <a:lnTo>
                  <a:pt x="2858407" y="764611"/>
                </a:lnTo>
                <a:lnTo>
                  <a:pt x="2858407" y="382301"/>
                </a:lnTo>
                <a:lnTo>
                  <a:pt x="2284942" y="382301"/>
                </a:lnTo>
                <a:lnTo>
                  <a:pt x="2475434" y="191156"/>
                </a:lnTo>
                <a:close/>
              </a:path>
            </a:pathLst>
          </a:custGeom>
          <a:solidFill>
            <a:srgbClr val="F39800"/>
          </a:solidFill>
          <a:ln w="1035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B9547AF-D348-433B-0E18-9F76A6044E23}"/>
              </a:ext>
            </a:extLst>
          </p:cNvPr>
          <p:cNvSpPr/>
          <p:nvPr/>
        </p:nvSpPr>
        <p:spPr>
          <a:xfrm>
            <a:off x="3507757" y="5313144"/>
            <a:ext cx="3137076" cy="766279"/>
          </a:xfrm>
          <a:custGeom>
            <a:avLst/>
            <a:gdLst>
              <a:gd name="connsiteX0" fmla="*/ 191156 w 3137076"/>
              <a:gd name="connsiteY0" fmla="*/ 0 h 766279"/>
              <a:gd name="connsiteX1" fmla="*/ 382311 w 3137076"/>
              <a:gd name="connsiteY1" fmla="*/ 190410 h 766279"/>
              <a:gd name="connsiteX2" fmla="*/ 382311 w 3137076"/>
              <a:gd name="connsiteY2" fmla="*/ 383979 h 766279"/>
              <a:gd name="connsiteX3" fmla="*/ 1968230 w 3137076"/>
              <a:gd name="connsiteY3" fmla="*/ 383979 h 766279"/>
              <a:gd name="connsiteX4" fmla="*/ 2225310 w 3137076"/>
              <a:gd name="connsiteY4" fmla="*/ 383979 h 766279"/>
              <a:gd name="connsiteX5" fmla="*/ 3137076 w 3137076"/>
              <a:gd name="connsiteY5" fmla="*/ 383979 h 766279"/>
              <a:gd name="connsiteX6" fmla="*/ 2945993 w 3137076"/>
              <a:gd name="connsiteY6" fmla="*/ 575134 h 766279"/>
              <a:gd name="connsiteX7" fmla="*/ 3137076 w 3137076"/>
              <a:gd name="connsiteY7" fmla="*/ 766279 h 766279"/>
              <a:gd name="connsiteX8" fmla="*/ 2225310 w 3137076"/>
              <a:gd name="connsiteY8" fmla="*/ 766279 h 766279"/>
              <a:gd name="connsiteX9" fmla="*/ 1968230 w 3137076"/>
              <a:gd name="connsiteY9" fmla="*/ 766279 h 766279"/>
              <a:gd name="connsiteX10" fmla="*/ 10 w 3137076"/>
              <a:gd name="connsiteY10" fmla="*/ 766279 h 766279"/>
              <a:gd name="connsiteX11" fmla="*/ 10 w 3137076"/>
              <a:gd name="connsiteY11" fmla="*/ 190410 h 766279"/>
              <a:gd name="connsiteX12" fmla="*/ 0 w 3137076"/>
              <a:gd name="connsiteY12" fmla="*/ 190410 h 76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37076" h="766279">
                <a:moveTo>
                  <a:pt x="191156" y="0"/>
                </a:moveTo>
                <a:lnTo>
                  <a:pt x="382311" y="190410"/>
                </a:lnTo>
                <a:lnTo>
                  <a:pt x="382311" y="383979"/>
                </a:lnTo>
                <a:lnTo>
                  <a:pt x="1968230" y="383979"/>
                </a:lnTo>
                <a:lnTo>
                  <a:pt x="2225310" y="383979"/>
                </a:lnTo>
                <a:lnTo>
                  <a:pt x="3137076" y="383979"/>
                </a:lnTo>
                <a:lnTo>
                  <a:pt x="2945993" y="575134"/>
                </a:lnTo>
                <a:lnTo>
                  <a:pt x="3137076" y="766279"/>
                </a:lnTo>
                <a:lnTo>
                  <a:pt x="2225310" y="766279"/>
                </a:lnTo>
                <a:lnTo>
                  <a:pt x="1968230" y="766279"/>
                </a:lnTo>
                <a:lnTo>
                  <a:pt x="10" y="766279"/>
                </a:lnTo>
                <a:lnTo>
                  <a:pt x="10" y="190410"/>
                </a:lnTo>
                <a:lnTo>
                  <a:pt x="0" y="190410"/>
                </a:lnTo>
                <a:close/>
              </a:path>
            </a:pathLst>
          </a:custGeom>
          <a:solidFill>
            <a:srgbClr val="F39800"/>
          </a:solidFill>
          <a:ln w="1035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1" name="Inhaltsplatzhalter 1">
            <a:extLst>
              <a:ext uri="{FF2B5EF4-FFF2-40B4-BE49-F238E27FC236}">
                <a16:creationId xmlns:a16="http://schemas.microsoft.com/office/drawing/2014/main" id="{322ED59E-1577-6CF6-2FCD-59D40CC7BE7D}"/>
              </a:ext>
            </a:extLst>
          </p:cNvPr>
          <p:cNvSpPr txBox="1">
            <a:spLocks/>
          </p:cNvSpPr>
          <p:nvPr/>
        </p:nvSpPr>
        <p:spPr>
          <a:xfrm>
            <a:off x="3507757" y="6156000"/>
            <a:ext cx="311964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/>
            <a:r>
              <a:rPr lang="en-GB" kern="0">
                <a:solidFill>
                  <a:schemeClr val="tx1"/>
                </a:solidFill>
                <a:latin typeface="+mn-lt"/>
              </a:rPr>
              <a:t>Retrospective</a:t>
            </a:r>
          </a:p>
        </p:txBody>
      </p:sp>
    </p:spTree>
    <p:extLst>
      <p:ext uri="{BB962C8B-B14F-4D97-AF65-F5344CB8AC3E}">
        <p14:creationId xmlns:p14="http://schemas.microsoft.com/office/powerpoint/2010/main" val="2993412287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582726E-8897-4B64-145D-A9A5B5CBD1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582726E-8897-4B64-145D-A9A5B5CBD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0E49E7C6-46AE-EEE5-09EF-386467EF28B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" r="5"/>
          <a:stretch/>
        </p:blipFill>
        <p:spPr>
          <a:xfrm>
            <a:off x="0" y="1098000"/>
            <a:ext cx="6096000" cy="5760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60B807B-7F1D-4505-E0FE-F3309868B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stimoni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AD4F9E-6422-7DF3-204C-2EC0FCFBAA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29187" y="1528763"/>
            <a:ext cx="5232602" cy="4899025"/>
          </a:xfrm>
        </p:spPr>
        <p:txBody>
          <a:bodyPr vert="horz"/>
          <a:lstStyle/>
          <a:p>
            <a:r>
              <a:rPr lang="en-GB"/>
              <a:t>Löwenfels Partner AG develops a web-based AHV software solution for IGS GmbH, which is in use in Switzerland and Lichtenstein. </a:t>
            </a:r>
          </a:p>
          <a:p>
            <a:r>
              <a:rPr lang="en-GB"/>
              <a:t>bbv modernized the solution and guaranteed the secure migration of the individual cash register data. The new architecture with a strong customer focus enables significant improvements in customer service as well as the fast implementation of new features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03FFEAE-C92A-9037-080F-AB6981D2AC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3630172"/>
            <a:ext cx="4798800" cy="2797616"/>
          </a:xfrm>
        </p:spPr>
        <p:txBody>
          <a:bodyPr/>
          <a:lstStyle/>
          <a:p>
            <a:r>
              <a:rPr lang="en-GB"/>
              <a:t>As long-term partners, the bbv experts help us to ensure the further development of our AHV solution and to deliver a high-quality product sprint after sprint to our customers with a high-quality product, sprint after sprint. </a:t>
            </a:r>
          </a:p>
          <a:p>
            <a:endParaRPr lang="en-GB"/>
          </a:p>
          <a:p>
            <a:r>
              <a:rPr lang="en-GB"/>
              <a:t>Pascal Freiburghaus</a:t>
            </a:r>
          </a:p>
          <a:p>
            <a:r>
              <a:rPr lang="en-GB"/>
              <a:t>CTO </a:t>
            </a:r>
          </a:p>
          <a:p>
            <a:r>
              <a:rPr lang="en-GB"/>
              <a:t>Löwenfels Partner A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933F92A-4743-161E-44D9-6AE014C2E3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4001" y="3500965"/>
            <a:ext cx="288000" cy="253652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8C5849B-764B-1F7A-734D-50F0D50DA8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10577EB4-9CD5-4250-B920-1DC4864486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529187" y="5707789"/>
            <a:ext cx="1620000" cy="71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54574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C7D4D2B-585E-45DE-34D4-1631B8B8D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96904455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98375651-E10C-5AAF-C1F3-071260452E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/>
              <a:t>Next steps &amp; deadlines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802989-22F5-E738-4CFA-BBC7E77330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144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802989-22F5-E738-4CFA-BBC7E7733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03DC0DE-00A7-4B9E-BB6A-18BB43206EE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34063" b="34063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D8D4D1C-CF07-EDC3-7183-B2088A672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ext steps</a:t>
            </a:r>
          </a:p>
        </p:txBody>
      </p:sp>
      <p:sp>
        <p:nvSpPr>
          <p:cNvPr id="11" name="Shape 256">
            <a:extLst>
              <a:ext uri="{FF2B5EF4-FFF2-40B4-BE49-F238E27FC236}">
                <a16:creationId xmlns:a16="http://schemas.microsoft.com/office/drawing/2014/main" id="{620DE9EA-4E0A-CD2F-AD5D-CD0C64E48020}"/>
              </a:ext>
            </a:extLst>
          </p:cNvPr>
          <p:cNvSpPr/>
          <p:nvPr/>
        </p:nvSpPr>
        <p:spPr>
          <a:xfrm rot="16200000" flipH="1">
            <a:off x="1182612" y="4087926"/>
            <a:ext cx="219813" cy="172343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txBody>
          <a:bodyPr lIns="219400" tIns="109699" rIns="219400" bIns="109699" anchor="ctr" anchorCtr="0">
            <a:noAutofit/>
          </a:bodyPr>
          <a:lstStyle/>
          <a:p>
            <a:pPr algn="ctr"/>
            <a:endParaRPr lang="en-GB" sz="3600"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14" name="Shape 259">
            <a:extLst>
              <a:ext uri="{FF2B5EF4-FFF2-40B4-BE49-F238E27FC236}">
                <a16:creationId xmlns:a16="http://schemas.microsoft.com/office/drawing/2014/main" id="{2483B89E-7945-2900-9AD3-930FCEED8581}"/>
              </a:ext>
            </a:extLst>
          </p:cNvPr>
          <p:cNvSpPr/>
          <p:nvPr/>
        </p:nvSpPr>
        <p:spPr>
          <a:xfrm>
            <a:off x="3938861" y="4839742"/>
            <a:ext cx="1723437" cy="2198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19400" tIns="109699" rIns="219400" bIns="109699" anchor="ctr" anchorCtr="0">
            <a:noAutofit/>
          </a:bodyPr>
          <a:lstStyle/>
          <a:p>
            <a:pPr algn="ctr"/>
            <a:endParaRPr lang="en-GB" sz="3600"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17" name="Shape 268">
            <a:extLst>
              <a:ext uri="{FF2B5EF4-FFF2-40B4-BE49-F238E27FC236}">
                <a16:creationId xmlns:a16="http://schemas.microsoft.com/office/drawing/2014/main" id="{C8B38917-7643-9471-CB2C-89559A46B55E}"/>
              </a:ext>
            </a:extLst>
          </p:cNvPr>
          <p:cNvSpPr/>
          <p:nvPr/>
        </p:nvSpPr>
        <p:spPr>
          <a:xfrm>
            <a:off x="5692892" y="4839741"/>
            <a:ext cx="1723437" cy="2198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19400" tIns="109699" rIns="219400" bIns="109699" anchor="ctr" anchorCtr="0">
            <a:noAutofit/>
          </a:bodyPr>
          <a:lstStyle/>
          <a:p>
            <a:pPr algn="ctr"/>
            <a:endParaRPr lang="en-GB" sz="3600"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20" name="Shape 271">
            <a:extLst>
              <a:ext uri="{FF2B5EF4-FFF2-40B4-BE49-F238E27FC236}">
                <a16:creationId xmlns:a16="http://schemas.microsoft.com/office/drawing/2014/main" id="{14466C92-729A-0D6D-6641-95DAE0C5D7D3}"/>
              </a:ext>
            </a:extLst>
          </p:cNvPr>
          <p:cNvSpPr/>
          <p:nvPr/>
        </p:nvSpPr>
        <p:spPr>
          <a:xfrm>
            <a:off x="2184831" y="4839744"/>
            <a:ext cx="1723437" cy="2198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19400" tIns="109699" rIns="219400" bIns="109699" anchor="ctr" anchorCtr="0">
            <a:noAutofit/>
          </a:bodyPr>
          <a:lstStyle/>
          <a:p>
            <a:pPr algn="ctr"/>
            <a:endParaRPr lang="en-GB" sz="3600"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23" name="Shape 262">
            <a:extLst>
              <a:ext uri="{FF2B5EF4-FFF2-40B4-BE49-F238E27FC236}">
                <a16:creationId xmlns:a16="http://schemas.microsoft.com/office/drawing/2014/main" id="{DD29F974-68E0-1391-E1F4-5616DEC5276A}"/>
              </a:ext>
            </a:extLst>
          </p:cNvPr>
          <p:cNvSpPr/>
          <p:nvPr/>
        </p:nvSpPr>
        <p:spPr>
          <a:xfrm>
            <a:off x="7446921" y="4839737"/>
            <a:ext cx="1723437" cy="2198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19400" tIns="109699" rIns="219400" bIns="109699" anchor="ctr" anchorCtr="0">
            <a:noAutofit/>
          </a:bodyPr>
          <a:lstStyle/>
          <a:p>
            <a:pPr algn="ctr"/>
            <a:endParaRPr lang="en-GB" sz="3600"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26" name="Shape 265">
            <a:extLst>
              <a:ext uri="{FF2B5EF4-FFF2-40B4-BE49-F238E27FC236}">
                <a16:creationId xmlns:a16="http://schemas.microsoft.com/office/drawing/2014/main" id="{EDF7E5CA-773C-F0B4-7DD5-FE9ED0C299B4}"/>
              </a:ext>
            </a:extLst>
          </p:cNvPr>
          <p:cNvSpPr/>
          <p:nvPr/>
        </p:nvSpPr>
        <p:spPr>
          <a:xfrm rot="5400000">
            <a:off x="9952762" y="4087926"/>
            <a:ext cx="219813" cy="172343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noFill/>
          </a:ln>
        </p:spPr>
        <p:txBody>
          <a:bodyPr lIns="219400" tIns="109699" rIns="219400" bIns="109699" anchor="ctr" anchorCtr="0">
            <a:noAutofit/>
          </a:bodyPr>
          <a:lstStyle/>
          <a:p>
            <a:pPr algn="ctr"/>
            <a:endParaRPr lang="en-GB" sz="3600"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28" name="Rechteck 95">
            <a:extLst>
              <a:ext uri="{FF2B5EF4-FFF2-40B4-BE49-F238E27FC236}">
                <a16:creationId xmlns:a16="http://schemas.microsoft.com/office/drawing/2014/main" id="{ADE74E36-0244-E2BB-3D5A-A1EF879C374E}"/>
              </a:ext>
            </a:extLst>
          </p:cNvPr>
          <p:cNvSpPr/>
          <p:nvPr/>
        </p:nvSpPr>
        <p:spPr>
          <a:xfrm>
            <a:off x="10589357" y="4839736"/>
            <a:ext cx="1602643" cy="219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Inhaltsplatzhalter 1">
            <a:extLst>
              <a:ext uri="{FF2B5EF4-FFF2-40B4-BE49-F238E27FC236}">
                <a16:creationId xmlns:a16="http://schemas.microsoft.com/office/drawing/2014/main" id="{54659E3F-85A5-66B8-9D45-881ECA4FF616}"/>
              </a:ext>
            </a:extLst>
          </p:cNvPr>
          <p:cNvSpPr txBox="1">
            <a:spLocks/>
          </p:cNvSpPr>
          <p:nvPr/>
        </p:nvSpPr>
        <p:spPr>
          <a:xfrm>
            <a:off x="8964667" y="3664226"/>
            <a:ext cx="2196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600"/>
              </a:spcBef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Project launch;</a:t>
            </a:r>
            <a:r>
              <a:rPr lang="en-GB" kern="0">
                <a:solidFill>
                  <a:schemeClr val="tx1"/>
                </a:solidFill>
                <a:latin typeface="+mn-lt"/>
              </a:rPr>
              <a:t> 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start of value creation</a:t>
            </a:r>
          </a:p>
        </p:txBody>
      </p:sp>
      <p:sp>
        <p:nvSpPr>
          <p:cNvPr id="30" name="Inhaltsplatzhalter 1">
            <a:extLst>
              <a:ext uri="{FF2B5EF4-FFF2-40B4-BE49-F238E27FC236}">
                <a16:creationId xmlns:a16="http://schemas.microsoft.com/office/drawing/2014/main" id="{E57AC9A9-F3FA-62D7-1405-EE86519EE2FE}"/>
              </a:ext>
            </a:extLst>
          </p:cNvPr>
          <p:cNvSpPr txBox="1">
            <a:spLocks/>
          </p:cNvSpPr>
          <p:nvPr/>
        </p:nvSpPr>
        <p:spPr>
          <a:xfrm>
            <a:off x="442913" y="5681775"/>
            <a:ext cx="252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600"/>
              </a:spcBef>
            </a:pPr>
            <a:r>
              <a:rPr lang="en-GB" kern="0">
                <a:solidFill>
                  <a:schemeClr val="tx1"/>
                </a:solidFill>
                <a:latin typeface="+mn-lt"/>
              </a:rPr>
              <a:t>Consolidate story map; define MVP</a:t>
            </a:r>
          </a:p>
        </p:txBody>
      </p:sp>
      <p:sp>
        <p:nvSpPr>
          <p:cNvPr id="31" name="Inhaltsplatzhalter 1">
            <a:extLst>
              <a:ext uri="{FF2B5EF4-FFF2-40B4-BE49-F238E27FC236}">
                <a16:creationId xmlns:a16="http://schemas.microsoft.com/office/drawing/2014/main" id="{6ACF2315-2BB4-0FC2-F31E-5083BFBA043E}"/>
              </a:ext>
            </a:extLst>
          </p:cNvPr>
          <p:cNvSpPr txBox="1">
            <a:spLocks/>
          </p:cNvSpPr>
          <p:nvPr/>
        </p:nvSpPr>
        <p:spPr>
          <a:xfrm>
            <a:off x="1426549" y="3664226"/>
            <a:ext cx="324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600"/>
              </a:spcBef>
            </a:pPr>
            <a:r>
              <a:rPr lang="en-GB" kern="0">
                <a:solidFill>
                  <a:schemeClr val="tx1"/>
                </a:solidFill>
                <a:latin typeface="+mn-lt"/>
              </a:rPr>
              <a:t>Refine product backlog; </a:t>
            </a:r>
            <a:br>
              <a:rPr lang="en-GB" kern="0">
                <a:solidFill>
                  <a:schemeClr val="tx1"/>
                </a:solidFill>
                <a:latin typeface="+mn-lt"/>
              </a:rPr>
            </a:br>
            <a:r>
              <a:rPr lang="en-GB" kern="0">
                <a:solidFill>
                  <a:schemeClr val="tx1"/>
                </a:solidFill>
                <a:latin typeface="+mn-lt"/>
              </a:rPr>
              <a:t>interplay with detailed estimates</a:t>
            </a:r>
          </a:p>
        </p:txBody>
      </p:sp>
      <p:sp>
        <p:nvSpPr>
          <p:cNvPr id="32" name="Inhaltsplatzhalter 1">
            <a:extLst>
              <a:ext uri="{FF2B5EF4-FFF2-40B4-BE49-F238E27FC236}">
                <a16:creationId xmlns:a16="http://schemas.microsoft.com/office/drawing/2014/main" id="{FDC9C5DC-50A0-E141-9947-B681F1D14334}"/>
              </a:ext>
            </a:extLst>
          </p:cNvPr>
          <p:cNvSpPr txBox="1">
            <a:spLocks/>
          </p:cNvSpPr>
          <p:nvPr/>
        </p:nvSpPr>
        <p:spPr>
          <a:xfrm>
            <a:off x="3972579" y="5681775"/>
            <a:ext cx="165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600"/>
              </a:spcBef>
            </a:pPr>
            <a:r>
              <a:rPr lang="en-GB" kern="0">
                <a:solidFill>
                  <a:schemeClr val="tx1"/>
                </a:solidFill>
                <a:latin typeface="+mn-lt"/>
              </a:rPr>
              <a:t>Project planning</a:t>
            </a:r>
          </a:p>
        </p:txBody>
      </p:sp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C3BAF232-DA4D-1648-0BF3-1F6E4485CE73}"/>
              </a:ext>
            </a:extLst>
          </p:cNvPr>
          <p:cNvSpPr txBox="1">
            <a:spLocks/>
          </p:cNvSpPr>
          <p:nvPr/>
        </p:nvSpPr>
        <p:spPr>
          <a:xfrm>
            <a:off x="5474609" y="3664226"/>
            <a:ext cx="216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600"/>
              </a:spcBef>
            </a:pPr>
            <a:r>
              <a:rPr lang="en-GB" kern="0">
                <a:solidFill>
                  <a:schemeClr val="tx1"/>
                </a:solidFill>
                <a:latin typeface="+mn-lt"/>
              </a:rPr>
              <a:t>Agree on commercial cooperation</a:t>
            </a:r>
          </a:p>
        </p:txBody>
      </p: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323EF92B-F359-3718-7A90-21609352B00B}"/>
              </a:ext>
            </a:extLst>
          </p:cNvPr>
          <p:cNvSpPr txBox="1">
            <a:spLocks/>
          </p:cNvSpPr>
          <p:nvPr/>
        </p:nvSpPr>
        <p:spPr>
          <a:xfrm>
            <a:off x="6724639" y="5681775"/>
            <a:ext cx="3168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600"/>
              </a:spcBef>
            </a:pPr>
            <a:r>
              <a:rPr lang="en-GB" kern="0" dirty="0">
                <a:solidFill>
                  <a:schemeClr val="tx1"/>
                </a:solidFill>
                <a:latin typeface="+mn-lt"/>
              </a:rPr>
              <a:t>Rolls, agree on responsibilities; assemble a team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AF410F4-9EB6-1FC1-E229-531524EEF52D}"/>
              </a:ext>
            </a:extLst>
          </p:cNvPr>
          <p:cNvGrpSpPr/>
          <p:nvPr/>
        </p:nvGrpSpPr>
        <p:grpSpPr>
          <a:xfrm>
            <a:off x="1148518" y="5055934"/>
            <a:ext cx="288000" cy="625841"/>
            <a:chOff x="1148518" y="5055934"/>
            <a:chExt cx="288000" cy="625841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D812647-9F90-5A98-BBF9-0FF176A60F4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92518" y="5059549"/>
              <a:ext cx="0" cy="62222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A685AFBC-AB82-292D-36C7-5111D021197A}"/>
                </a:ext>
              </a:extLst>
            </p:cNvPr>
            <p:cNvSpPr/>
            <p:nvPr/>
          </p:nvSpPr>
          <p:spPr>
            <a:xfrm rot="10800000">
              <a:off x="1148518" y="5055934"/>
              <a:ext cx="288000" cy="180000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de-CH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521D944-4411-4083-5FAE-4ECB19312B24}"/>
              </a:ext>
            </a:extLst>
          </p:cNvPr>
          <p:cNvGrpSpPr/>
          <p:nvPr/>
        </p:nvGrpSpPr>
        <p:grpSpPr>
          <a:xfrm>
            <a:off x="2902549" y="4218224"/>
            <a:ext cx="288000" cy="621512"/>
            <a:chOff x="2902549" y="4218224"/>
            <a:chExt cx="288000" cy="621512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C11EF02-5526-10A1-DD76-44ABD38362E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046549" y="4218224"/>
              <a:ext cx="0" cy="62151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C77FD50E-D7AF-1EAE-FEA6-142DD331949B}"/>
                </a:ext>
              </a:extLst>
            </p:cNvPr>
            <p:cNvSpPr/>
            <p:nvPr/>
          </p:nvSpPr>
          <p:spPr>
            <a:xfrm>
              <a:off x="2902549" y="4659736"/>
              <a:ext cx="288000" cy="180000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de-CH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01C843B-2D53-E208-77B0-4BC23B7CF408}"/>
              </a:ext>
            </a:extLst>
          </p:cNvPr>
          <p:cNvGrpSpPr/>
          <p:nvPr/>
        </p:nvGrpSpPr>
        <p:grpSpPr>
          <a:xfrm>
            <a:off x="4656580" y="5059549"/>
            <a:ext cx="288000" cy="622226"/>
            <a:chOff x="4656580" y="5059549"/>
            <a:chExt cx="288000" cy="622226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08BA63EC-5CB7-E7F9-9E4E-FF0DC14C4BB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800579" y="5059549"/>
              <a:ext cx="0" cy="62222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2" name="Isosceles Triangle 61">
              <a:extLst>
                <a:ext uri="{FF2B5EF4-FFF2-40B4-BE49-F238E27FC236}">
                  <a16:creationId xmlns:a16="http://schemas.microsoft.com/office/drawing/2014/main" id="{4FB3B26C-A3E2-6606-11E6-F8BDD2B75511}"/>
                </a:ext>
              </a:extLst>
            </p:cNvPr>
            <p:cNvSpPr/>
            <p:nvPr/>
          </p:nvSpPr>
          <p:spPr>
            <a:xfrm rot="10800000">
              <a:off x="4656580" y="5059559"/>
              <a:ext cx="288000" cy="180000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de-CH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A0E73BB-CD42-5ED5-DCFE-5927A2A49335}"/>
              </a:ext>
            </a:extLst>
          </p:cNvPr>
          <p:cNvGrpSpPr/>
          <p:nvPr/>
        </p:nvGrpSpPr>
        <p:grpSpPr>
          <a:xfrm>
            <a:off x="6410610" y="4218224"/>
            <a:ext cx="288000" cy="621512"/>
            <a:chOff x="2902549" y="4218224"/>
            <a:chExt cx="288000" cy="621512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4D36C51-DF10-9FD5-40F2-8BA3D8565B3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046549" y="4218224"/>
              <a:ext cx="0" cy="62151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5" name="Isosceles Triangle 64">
              <a:extLst>
                <a:ext uri="{FF2B5EF4-FFF2-40B4-BE49-F238E27FC236}">
                  <a16:creationId xmlns:a16="http://schemas.microsoft.com/office/drawing/2014/main" id="{8C675B4F-EBA1-A2E2-A5F3-28E488281F7F}"/>
                </a:ext>
              </a:extLst>
            </p:cNvPr>
            <p:cNvSpPr/>
            <p:nvPr/>
          </p:nvSpPr>
          <p:spPr>
            <a:xfrm>
              <a:off x="2902549" y="4659736"/>
              <a:ext cx="288000" cy="180000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de-CH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CAF07BE-8BC7-BB8F-4C31-494EDCCE9965}"/>
              </a:ext>
            </a:extLst>
          </p:cNvPr>
          <p:cNvGrpSpPr/>
          <p:nvPr/>
        </p:nvGrpSpPr>
        <p:grpSpPr>
          <a:xfrm>
            <a:off x="8164639" y="5059549"/>
            <a:ext cx="288000" cy="622226"/>
            <a:chOff x="4656580" y="5059549"/>
            <a:chExt cx="288000" cy="622226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2B2DB4B-43AF-81F1-6CD3-0B4E10DF8DC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800579" y="5059549"/>
              <a:ext cx="0" cy="62222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8" name="Isosceles Triangle 67">
              <a:extLst>
                <a:ext uri="{FF2B5EF4-FFF2-40B4-BE49-F238E27FC236}">
                  <a16:creationId xmlns:a16="http://schemas.microsoft.com/office/drawing/2014/main" id="{F5AF3488-3A72-35F2-609A-A0625566547F}"/>
                </a:ext>
              </a:extLst>
            </p:cNvPr>
            <p:cNvSpPr/>
            <p:nvPr/>
          </p:nvSpPr>
          <p:spPr>
            <a:xfrm rot="10800000">
              <a:off x="4656580" y="5059559"/>
              <a:ext cx="288000" cy="180000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de-CH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0BA1239-E653-CADD-393A-31B50205370A}"/>
              </a:ext>
            </a:extLst>
          </p:cNvPr>
          <p:cNvGrpSpPr/>
          <p:nvPr/>
        </p:nvGrpSpPr>
        <p:grpSpPr>
          <a:xfrm>
            <a:off x="9918667" y="4218224"/>
            <a:ext cx="288000" cy="621512"/>
            <a:chOff x="9534921" y="4218224"/>
            <a:chExt cx="288000" cy="621512"/>
          </a:xfrm>
        </p:grpSpPr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994252F0-0C0A-3715-71C1-1F0793E5002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678921" y="4218224"/>
              <a:ext cx="0" cy="62151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1" name="Isosceles Triangle 70">
              <a:extLst>
                <a:ext uri="{FF2B5EF4-FFF2-40B4-BE49-F238E27FC236}">
                  <a16:creationId xmlns:a16="http://schemas.microsoft.com/office/drawing/2014/main" id="{97ABE51A-8F3C-4A7A-9948-1E41708ECD9A}"/>
                </a:ext>
              </a:extLst>
            </p:cNvPr>
            <p:cNvSpPr/>
            <p:nvPr/>
          </p:nvSpPr>
          <p:spPr>
            <a:xfrm>
              <a:off x="9534921" y="4659736"/>
              <a:ext cx="288000" cy="18000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de-CH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514106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3CA1E6E-A263-F27C-EB44-0E123767C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3CA1E6E-A263-F27C-EB44-0E123767C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C894D7E3-3B41-D74C-6CE7-1DF574423F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378" r="32378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84DBD3-D50F-F39E-9ABB-DED83E5C7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ilestones</a:t>
            </a:r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A9C33E99-4B7D-B37D-117A-776BEFD80914}"/>
              </a:ext>
            </a:extLst>
          </p:cNvPr>
          <p:cNvSpPr txBox="1">
            <a:spLocks/>
          </p:cNvSpPr>
          <p:nvPr/>
        </p:nvSpPr>
        <p:spPr>
          <a:xfrm>
            <a:off x="1302000" y="1661501"/>
            <a:ext cx="741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Consolidate story map; define MVP</a:t>
            </a:r>
          </a:p>
        </p:txBody>
      </p:sp>
      <p:sp>
        <p:nvSpPr>
          <p:cNvPr id="29" name="Inhaltsplatzhalter 1">
            <a:extLst>
              <a:ext uri="{FF2B5EF4-FFF2-40B4-BE49-F238E27FC236}">
                <a16:creationId xmlns:a16="http://schemas.microsoft.com/office/drawing/2014/main" id="{D524BF64-250F-73D7-8530-4E76D5353F64}"/>
              </a:ext>
            </a:extLst>
          </p:cNvPr>
          <p:cNvSpPr txBox="1">
            <a:spLocks/>
          </p:cNvSpPr>
          <p:nvPr/>
        </p:nvSpPr>
        <p:spPr>
          <a:xfrm>
            <a:off x="1302000" y="2532701"/>
            <a:ext cx="741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Refine product backlog; interplay with estimates</a:t>
            </a:r>
          </a:p>
        </p:txBody>
      </p:sp>
      <p:sp>
        <p:nvSpPr>
          <p:cNvPr id="30" name="Inhaltsplatzhalter 1">
            <a:extLst>
              <a:ext uri="{FF2B5EF4-FFF2-40B4-BE49-F238E27FC236}">
                <a16:creationId xmlns:a16="http://schemas.microsoft.com/office/drawing/2014/main" id="{B62DDADB-54B6-725A-2B40-0A8DD4CC70AD}"/>
              </a:ext>
            </a:extLst>
          </p:cNvPr>
          <p:cNvSpPr txBox="1">
            <a:spLocks/>
          </p:cNvSpPr>
          <p:nvPr/>
        </p:nvSpPr>
        <p:spPr>
          <a:xfrm>
            <a:off x="1302000" y="5146301"/>
            <a:ext cx="741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Rolls, agree on responsibilities; assemble a team</a:t>
            </a:r>
          </a:p>
        </p:txBody>
      </p:sp>
      <p:sp>
        <p:nvSpPr>
          <p:cNvPr id="31" name="Inhaltsplatzhalter 1">
            <a:extLst>
              <a:ext uri="{FF2B5EF4-FFF2-40B4-BE49-F238E27FC236}">
                <a16:creationId xmlns:a16="http://schemas.microsoft.com/office/drawing/2014/main" id="{6B439A50-AEE7-AC93-D7D0-2EE3AD612B7D}"/>
              </a:ext>
            </a:extLst>
          </p:cNvPr>
          <p:cNvSpPr txBox="1">
            <a:spLocks/>
          </p:cNvSpPr>
          <p:nvPr/>
        </p:nvSpPr>
        <p:spPr>
          <a:xfrm>
            <a:off x="1302000" y="6017501"/>
            <a:ext cx="741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Project launch; start of value creation</a:t>
            </a:r>
          </a:p>
        </p:txBody>
      </p:sp>
      <p:sp>
        <p:nvSpPr>
          <p:cNvPr id="32" name="Inhaltsplatzhalter 1">
            <a:extLst>
              <a:ext uri="{FF2B5EF4-FFF2-40B4-BE49-F238E27FC236}">
                <a16:creationId xmlns:a16="http://schemas.microsoft.com/office/drawing/2014/main" id="{3AFE758B-85C9-603E-C0EA-62F5F5101A26}"/>
              </a:ext>
            </a:extLst>
          </p:cNvPr>
          <p:cNvSpPr txBox="1">
            <a:spLocks/>
          </p:cNvSpPr>
          <p:nvPr/>
        </p:nvSpPr>
        <p:spPr>
          <a:xfrm>
            <a:off x="1302000" y="4275101"/>
            <a:ext cx="741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Agree on commercial cooperation</a:t>
            </a:r>
          </a:p>
        </p:txBody>
      </p:sp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B59C8F25-6934-CB80-E06C-D1568D968BC4}"/>
              </a:ext>
            </a:extLst>
          </p:cNvPr>
          <p:cNvSpPr txBox="1">
            <a:spLocks/>
          </p:cNvSpPr>
          <p:nvPr/>
        </p:nvSpPr>
        <p:spPr>
          <a:xfrm>
            <a:off x="1302000" y="3403901"/>
            <a:ext cx="7416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/>
            <a:r>
              <a:rPr lang="en-GB" kern="0">
                <a:solidFill>
                  <a:schemeClr val="tx1"/>
                </a:solidFill>
                <a:latin typeface="+mn-lt"/>
              </a:rPr>
              <a:t>Project planning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45D93BE4-4747-4D86-2928-7F7B60086C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1530000"/>
            <a:ext cx="540000" cy="5400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0EFF17FC-D782-2176-0E0E-30A4205061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2401200"/>
            <a:ext cx="540000" cy="540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51D4CDA5-7F68-3D3D-1B66-1981DB248A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3272400"/>
            <a:ext cx="540000" cy="5400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5F93F5F-0B3A-A23C-EFA0-AD52BDD3F5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4143600"/>
            <a:ext cx="540000" cy="5400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FB34E1F1-0F67-1BDA-BE09-0A878D94AC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5886000"/>
            <a:ext cx="540000" cy="5400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3BB27BC4-E072-7BDA-2C26-0FC3DACF8C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2000" y="50148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433955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8D43988-E3BC-F49B-C0B6-119551B92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8411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8D43988-E3BC-F49B-C0B6-119551B92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4C97A5-8537-2FD7-7067-6D859E6A6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adlin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6470C5-FF1A-9A5A-DE30-54476888DA5D}"/>
              </a:ext>
            </a:extLst>
          </p:cNvPr>
          <p:cNvGrpSpPr/>
          <p:nvPr/>
        </p:nvGrpSpPr>
        <p:grpSpPr>
          <a:xfrm>
            <a:off x="432000" y="1528763"/>
            <a:ext cx="11329788" cy="4431268"/>
            <a:chOff x="432000" y="1779300"/>
            <a:chExt cx="11312378" cy="443126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D4E1701-59A9-495E-A306-436E51406923}"/>
                </a:ext>
              </a:extLst>
            </p:cNvPr>
            <p:cNvSpPr/>
            <p:nvPr/>
          </p:nvSpPr>
          <p:spPr>
            <a:xfrm>
              <a:off x="2511291" y="1779300"/>
              <a:ext cx="1709529" cy="63020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72000" tIns="72000" rIns="72000" bIns="72000" rtlCol="0" anchor="ctr">
              <a:noAutofit/>
            </a:bodyPr>
            <a:lstStyle/>
            <a:p>
              <a:pPr algn="ctr"/>
              <a:r>
                <a:rPr lang="en-GB" sz="1600">
                  <a:solidFill>
                    <a:schemeClr val="bg1"/>
                  </a:solidFill>
                  <a:cs typeface="Arial" panose="020B0604020202020204" pitchFamily="34" charset="0"/>
                </a:rPr>
                <a:t>14.04.22</a:t>
              </a:r>
            </a:p>
            <a:p>
              <a:pPr algn="ctr"/>
              <a:r>
                <a:rPr lang="en-GB" sz="1600" b="1">
                  <a:solidFill>
                    <a:schemeClr val="bg1"/>
                  </a:solidFill>
                  <a:cs typeface="Arial" panose="020B0604020202020204" pitchFamily="34" charset="0"/>
                </a:rPr>
                <a:t>Decision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8160AE-924A-C080-C9A8-7DBFE3BADF14}"/>
                </a:ext>
              </a:extLst>
            </p:cNvPr>
            <p:cNvSpPr/>
            <p:nvPr/>
          </p:nvSpPr>
          <p:spPr>
            <a:xfrm>
              <a:off x="4392180" y="1779300"/>
              <a:ext cx="1709529" cy="63020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72000" tIns="72000" rIns="72000" bIns="72000" rtlCol="0" anchor="ctr">
              <a:noAutofit/>
            </a:bodyPr>
            <a:lstStyle/>
            <a:p>
              <a:pPr algn="ctr"/>
              <a:r>
                <a:rPr lang="en-GB" sz="1600">
                  <a:solidFill>
                    <a:schemeClr val="bg1"/>
                  </a:solidFill>
                  <a:cs typeface="Arial" panose="020B0604020202020204" pitchFamily="34" charset="0"/>
                </a:rPr>
                <a:t>01.05.22</a:t>
              </a:r>
            </a:p>
            <a:p>
              <a:pPr algn="ctr"/>
              <a:r>
                <a:rPr lang="en-GB" sz="1600" b="1">
                  <a:solidFill>
                    <a:schemeClr val="bg1"/>
                  </a:solidFill>
                  <a:cs typeface="Arial" panose="020B0604020202020204" pitchFamily="34" charset="0"/>
                </a:rPr>
                <a:t>Start VP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DBEA59A-8CEB-658D-55FD-651CCE72C789}"/>
                </a:ext>
              </a:extLst>
            </p:cNvPr>
            <p:cNvSpPr/>
            <p:nvPr/>
          </p:nvSpPr>
          <p:spPr>
            <a:xfrm>
              <a:off x="6273069" y="1779300"/>
              <a:ext cx="1709529" cy="63020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72000" tIns="72000" rIns="72000" bIns="72000" rtlCol="0" anchor="ctr">
              <a:noAutofit/>
            </a:bodyPr>
            <a:lstStyle/>
            <a:p>
              <a:pPr algn="ctr"/>
              <a:r>
                <a:rPr lang="en-GB" sz="1600">
                  <a:solidFill>
                    <a:schemeClr val="bg1"/>
                  </a:solidFill>
                  <a:cs typeface="Arial" panose="020B0604020202020204" pitchFamily="34" charset="0"/>
                </a:rPr>
                <a:t>01.08.22</a:t>
              </a:r>
            </a:p>
            <a:p>
              <a:pPr algn="ctr"/>
              <a:r>
                <a:rPr lang="en-GB" sz="1600" b="1">
                  <a:solidFill>
                    <a:schemeClr val="bg1"/>
                  </a:solidFill>
                  <a:cs typeface="Arial" panose="020B0604020202020204" pitchFamily="34" charset="0"/>
                </a:rPr>
                <a:t>End VP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F057702-A911-A412-3822-D2B6ED2F660B}"/>
                </a:ext>
              </a:extLst>
            </p:cNvPr>
            <p:cNvSpPr/>
            <p:nvPr/>
          </p:nvSpPr>
          <p:spPr>
            <a:xfrm>
              <a:off x="8153959" y="1779300"/>
              <a:ext cx="1709529" cy="63020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72000" tIns="72000" rIns="72000" bIns="72000" rtlCol="0" anchor="ctr">
              <a:noAutofit/>
            </a:bodyPr>
            <a:lstStyle/>
            <a:p>
              <a:pPr algn="ctr"/>
              <a:r>
                <a:rPr lang="en-GB" sz="1600">
                  <a:solidFill>
                    <a:schemeClr val="bg1"/>
                  </a:solidFill>
                  <a:cs typeface="Arial" panose="020B0604020202020204" pitchFamily="34" charset="0"/>
                </a:rPr>
                <a:t>01.06.23</a:t>
              </a:r>
            </a:p>
            <a:p>
              <a:pPr algn="ctr"/>
              <a:r>
                <a:rPr lang="en-GB" sz="1600" b="1">
                  <a:solidFill>
                    <a:schemeClr val="bg1"/>
                  </a:solidFill>
                  <a:cs typeface="Arial" panose="020B0604020202020204" pitchFamily="34" charset="0"/>
                </a:rPr>
                <a:t>Go Live PB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BC275CD-F9B4-DF4F-5ED6-A8141F11D7F8}"/>
                </a:ext>
              </a:extLst>
            </p:cNvPr>
            <p:cNvSpPr/>
            <p:nvPr/>
          </p:nvSpPr>
          <p:spPr>
            <a:xfrm>
              <a:off x="10034849" y="1779300"/>
              <a:ext cx="1709529" cy="63020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72000" tIns="72000" rIns="72000" bIns="72000" rtlCol="0" anchor="ctr">
              <a:noAutofit/>
            </a:bodyPr>
            <a:lstStyle/>
            <a:p>
              <a:pPr algn="ctr"/>
              <a:r>
                <a:rPr lang="en-GB" sz="1600">
                  <a:solidFill>
                    <a:schemeClr val="bg1"/>
                  </a:solidFill>
                  <a:cs typeface="Arial" panose="020B0604020202020204" pitchFamily="34" charset="0"/>
                </a:rPr>
                <a:t>01.09.23</a:t>
              </a:r>
            </a:p>
            <a:p>
              <a:pPr algn="ctr"/>
              <a:r>
                <a:rPr lang="en-GB" sz="1600" b="1">
                  <a:solidFill>
                    <a:schemeClr val="bg1"/>
                  </a:solidFill>
                  <a:cs typeface="Arial" panose="020B0604020202020204" pitchFamily="34" charset="0"/>
                </a:rPr>
                <a:t>Go Live FA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150B52B-9233-ACAA-1781-D51A343EB9E2}"/>
                </a:ext>
              </a:extLst>
            </p:cNvPr>
            <p:cNvSpPr/>
            <p:nvPr/>
          </p:nvSpPr>
          <p:spPr>
            <a:xfrm>
              <a:off x="442913" y="2643703"/>
              <a:ext cx="1926859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r>
                <a:rPr lang="en-GB" sz="1400">
                  <a:cs typeface="Arial" panose="020B0604020202020204" pitchFamily="34" charset="0"/>
                </a:rPr>
                <a:t>Definition of the requirement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DC281B-9E8D-00AD-2725-5F6F14DF1155}"/>
                </a:ext>
              </a:extLst>
            </p:cNvPr>
            <p:cNvSpPr/>
            <p:nvPr/>
          </p:nvSpPr>
          <p:spPr>
            <a:xfrm>
              <a:off x="442912" y="3595982"/>
              <a:ext cx="1926859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r>
                <a:rPr lang="en-GB" sz="1400">
                  <a:cs typeface="Arial" panose="020B0604020202020204" pitchFamily="34" charset="0"/>
                </a:rPr>
                <a:t>Approval project scop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89492C5-72C3-27DC-32C2-D70F0ADB5CEE}"/>
                </a:ext>
              </a:extLst>
            </p:cNvPr>
            <p:cNvSpPr/>
            <p:nvPr/>
          </p:nvSpPr>
          <p:spPr>
            <a:xfrm>
              <a:off x="442912" y="4177418"/>
              <a:ext cx="1926859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r>
                <a:rPr lang="en-GB" sz="1400">
                  <a:cs typeface="Arial" panose="020B0604020202020204" pitchFamily="34" charset="0"/>
                </a:rPr>
                <a:t>Iterative development proces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BA90F14-F6AE-3EDF-9247-C9F56D288316}"/>
                </a:ext>
              </a:extLst>
            </p:cNvPr>
            <p:cNvSpPr/>
            <p:nvPr/>
          </p:nvSpPr>
          <p:spPr>
            <a:xfrm>
              <a:off x="442912" y="4758853"/>
              <a:ext cx="1926859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r>
                <a:rPr lang="en-GB" sz="1400">
                  <a:cs typeface="Arial" panose="020B0604020202020204" pitchFamily="34" charset="0"/>
                </a:rPr>
                <a:t>Handover PB to </a:t>
              </a:r>
              <a:br>
                <a:rPr lang="en-GB" sz="1400">
                  <a:cs typeface="Arial" panose="020B0604020202020204" pitchFamily="34" charset="0"/>
                </a:rPr>
              </a:br>
              <a:r>
                <a:rPr lang="en-GB" sz="1400">
                  <a:cs typeface="Arial" panose="020B0604020202020204" pitchFamily="34" charset="0"/>
                </a:rPr>
                <a:t>prod.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E25D6F0-68E5-0810-9A56-25E85DF6A408}"/>
                </a:ext>
              </a:extLst>
            </p:cNvPr>
            <p:cNvSpPr/>
            <p:nvPr/>
          </p:nvSpPr>
          <p:spPr>
            <a:xfrm>
              <a:off x="442912" y="5674063"/>
              <a:ext cx="1926859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r>
                <a:rPr lang="en-GB" sz="1400">
                  <a:cs typeface="Arial" panose="020B0604020202020204" pitchFamily="34" charset="0"/>
                </a:rPr>
                <a:t>Handover FAR to prod.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CBFE46E-51C2-543A-F997-BB7B1405710C}"/>
                </a:ext>
              </a:extLst>
            </p:cNvPr>
            <p:cNvSpPr/>
            <p:nvPr/>
          </p:nvSpPr>
          <p:spPr>
            <a:xfrm>
              <a:off x="432002" y="2292475"/>
              <a:ext cx="126634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GB" sz="1600" b="1">
                  <a:cs typeface="Arial" panose="020B0604020202020204" pitchFamily="34" charset="0"/>
                </a:rPr>
                <a:t>Pre-projec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D22CB1F-9D92-618C-CA58-850DD6B83299}"/>
                </a:ext>
              </a:extLst>
            </p:cNvPr>
            <p:cNvSpPr/>
            <p:nvPr/>
          </p:nvSpPr>
          <p:spPr>
            <a:xfrm>
              <a:off x="432000" y="3211467"/>
              <a:ext cx="88036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GB" sz="1600" b="1">
                  <a:cs typeface="Arial" panose="020B0604020202020204" pitchFamily="34" charset="0"/>
                </a:rPr>
                <a:t>Projec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42E510E-EF9D-2EA9-1449-07F1C5F26F0C}"/>
                </a:ext>
              </a:extLst>
            </p:cNvPr>
            <p:cNvSpPr/>
            <p:nvPr/>
          </p:nvSpPr>
          <p:spPr>
            <a:xfrm>
              <a:off x="436800" y="5327038"/>
              <a:ext cx="115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GB" sz="1600" b="1">
                  <a:cs typeface="Arial" panose="020B0604020202020204" pitchFamily="34" charset="0"/>
                </a:rPr>
                <a:t>Operation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DAD22DC-793E-32BE-09DE-5E2144457479}"/>
                </a:ext>
              </a:extLst>
            </p:cNvPr>
            <p:cNvSpPr/>
            <p:nvPr/>
          </p:nvSpPr>
          <p:spPr>
            <a:xfrm>
              <a:off x="2511291" y="2643703"/>
              <a:ext cx="9233087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endParaRPr lang="en-GB" sz="1400">
                <a:cs typeface="Arial" panose="020B0604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951C643-AF4A-595A-8C81-05548A3B66CB}"/>
                </a:ext>
              </a:extLst>
            </p:cNvPr>
            <p:cNvSpPr/>
            <p:nvPr/>
          </p:nvSpPr>
          <p:spPr>
            <a:xfrm>
              <a:off x="2511290" y="3595982"/>
              <a:ext cx="9233087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endParaRPr lang="en-GB" sz="1400">
                <a:cs typeface="Arial" panose="020B0604020202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1C20123-F30A-57BC-BF1F-A0D65F6720A7}"/>
                </a:ext>
              </a:extLst>
            </p:cNvPr>
            <p:cNvSpPr/>
            <p:nvPr/>
          </p:nvSpPr>
          <p:spPr>
            <a:xfrm>
              <a:off x="2511290" y="4177418"/>
              <a:ext cx="9233087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endParaRPr lang="en-GB" sz="1400">
                <a:cs typeface="Arial" panose="020B0604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F755A5D-B207-3EE0-FBEA-E4798C02B4A5}"/>
                </a:ext>
              </a:extLst>
            </p:cNvPr>
            <p:cNvSpPr/>
            <p:nvPr/>
          </p:nvSpPr>
          <p:spPr>
            <a:xfrm>
              <a:off x="2511290" y="4758853"/>
              <a:ext cx="9233087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endParaRPr lang="en-GB" sz="1400">
                <a:cs typeface="Arial" panose="020B060402020202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3B3BC44-3A93-169D-BF7D-6E2B34262A9F}"/>
                </a:ext>
              </a:extLst>
            </p:cNvPr>
            <p:cNvSpPr/>
            <p:nvPr/>
          </p:nvSpPr>
          <p:spPr>
            <a:xfrm>
              <a:off x="2511290" y="5674063"/>
              <a:ext cx="9233087" cy="5365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144000" tIns="72000" rIns="72000" bIns="72000" rtlCol="0" anchor="ctr">
              <a:noAutofit/>
            </a:bodyPr>
            <a:lstStyle/>
            <a:p>
              <a:endParaRPr lang="en-GB" sz="1400">
                <a:cs typeface="Arial" panose="020B0604020202020204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DC70352-7E64-F0F8-7A03-34DD7E96F1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71273" y="2913085"/>
              <a:ext cx="3722254" cy="0"/>
            </a:xfrm>
            <a:prstGeom prst="line">
              <a:avLst/>
            </a:prstGeom>
            <a:solidFill>
              <a:schemeClr val="accent1"/>
            </a:solidFill>
            <a:ln w="12700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20C0D23-111A-671C-60FE-23D37FDF9C6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93527" y="3873867"/>
              <a:ext cx="1902691" cy="0"/>
            </a:xfrm>
            <a:prstGeom prst="line">
              <a:avLst/>
            </a:prstGeom>
            <a:solidFill>
              <a:schemeClr val="accent1"/>
            </a:solidFill>
            <a:ln w="12700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0C2504C-0D7C-6D68-154A-7ABEAC4FDF8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93527" y="4450336"/>
              <a:ext cx="1902691" cy="0"/>
            </a:xfrm>
            <a:prstGeom prst="line">
              <a:avLst/>
            </a:prstGeom>
            <a:solidFill>
              <a:schemeClr val="accent1"/>
            </a:solidFill>
            <a:ln w="12700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4C89BDF-BC10-9A63-8715-59B6C5700D5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996218" y="5026805"/>
              <a:ext cx="1817556" cy="0"/>
            </a:xfrm>
            <a:prstGeom prst="line">
              <a:avLst/>
            </a:prstGeom>
            <a:solidFill>
              <a:schemeClr val="accent1"/>
            </a:solidFill>
            <a:ln w="12700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A89C2A9-DC8F-0AAC-B6B1-01AE8A0E99E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813773" y="5947831"/>
              <a:ext cx="864000" cy="0"/>
            </a:xfrm>
            <a:prstGeom prst="line">
              <a:avLst/>
            </a:prstGeom>
            <a:solidFill>
              <a:schemeClr val="accent1"/>
            </a:solidFill>
            <a:ln w="12700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28640783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8D43988-E3BC-F49B-C0B6-119551B92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92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8D43988-E3BC-F49B-C0B6-119551B92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4C97A5-8537-2FD7-7067-6D859E6A6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la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3B3BC44-3A93-169D-BF7D-6E2B34262A9F}"/>
              </a:ext>
            </a:extLst>
          </p:cNvPr>
          <p:cNvSpPr/>
          <p:nvPr/>
        </p:nvSpPr>
        <p:spPr>
          <a:xfrm>
            <a:off x="442930" y="5277240"/>
            <a:ext cx="11318857" cy="536505"/>
          </a:xfrm>
          <a:prstGeom prst="rect">
            <a:avLst/>
          </a:prstGeom>
          <a:solidFill>
            <a:schemeClr val="bg1"/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962FFC17-EB75-1B45-49C7-6ED31F46A8CB}"/>
              </a:ext>
            </a:extLst>
          </p:cNvPr>
          <p:cNvSpPr/>
          <p:nvPr/>
        </p:nvSpPr>
        <p:spPr>
          <a:xfrm>
            <a:off x="442930" y="1528763"/>
            <a:ext cx="2444905" cy="630202"/>
          </a:xfrm>
          <a:prstGeom prst="homePlate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Start</a:t>
            </a:r>
          </a:p>
        </p:txBody>
      </p:sp>
      <p:sp>
        <p:nvSpPr>
          <p:cNvPr id="5" name="Chevron 4">
            <a:extLst>
              <a:ext uri="{FF2B5EF4-FFF2-40B4-BE49-F238E27FC236}">
                <a16:creationId xmlns:a16="http://schemas.microsoft.com/office/drawing/2014/main" id="{B2D96524-9B9F-0C03-BE7B-683F96E0629E}"/>
              </a:ext>
            </a:extLst>
          </p:cNvPr>
          <p:cNvSpPr/>
          <p:nvPr/>
        </p:nvSpPr>
        <p:spPr>
          <a:xfrm>
            <a:off x="2641293" y="1528763"/>
            <a:ext cx="2465036" cy="630202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Stage 1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id="{243A958F-5106-5C85-FC88-956BCCE07CD1}"/>
              </a:ext>
            </a:extLst>
          </p:cNvPr>
          <p:cNvSpPr/>
          <p:nvPr/>
        </p:nvSpPr>
        <p:spPr>
          <a:xfrm>
            <a:off x="4859776" y="1528763"/>
            <a:ext cx="2465036" cy="630202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Stage 2</a:t>
            </a:r>
          </a:p>
        </p:txBody>
      </p:sp>
      <p:sp>
        <p:nvSpPr>
          <p:cNvPr id="8" name="Chevron 7">
            <a:extLst>
              <a:ext uri="{FF2B5EF4-FFF2-40B4-BE49-F238E27FC236}">
                <a16:creationId xmlns:a16="http://schemas.microsoft.com/office/drawing/2014/main" id="{BAFE6BEE-6ADD-D4ED-8884-CB6E89702333}"/>
              </a:ext>
            </a:extLst>
          </p:cNvPr>
          <p:cNvSpPr/>
          <p:nvPr/>
        </p:nvSpPr>
        <p:spPr>
          <a:xfrm>
            <a:off x="7078269" y="1528763"/>
            <a:ext cx="2465036" cy="630202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Stage 3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AC3FA6F7-9E8C-EAAE-6A16-24AFDDDB0756}"/>
              </a:ext>
            </a:extLst>
          </p:cNvPr>
          <p:cNvSpPr/>
          <p:nvPr/>
        </p:nvSpPr>
        <p:spPr>
          <a:xfrm>
            <a:off x="9296752" y="1528763"/>
            <a:ext cx="2465036" cy="630202"/>
          </a:xfrm>
          <a:prstGeom prst="chevron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Stage 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3DA600-5D69-B579-0102-B76A52BADBE4}"/>
              </a:ext>
            </a:extLst>
          </p:cNvPr>
          <p:cNvSpPr/>
          <p:nvPr/>
        </p:nvSpPr>
        <p:spPr>
          <a:xfrm>
            <a:off x="442930" y="4058980"/>
            <a:ext cx="11318857" cy="536505"/>
          </a:xfrm>
          <a:prstGeom prst="rect">
            <a:avLst/>
          </a:prstGeom>
          <a:solidFill>
            <a:schemeClr val="bg1"/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1643E9A-11B5-A5C7-8C04-C67734948107}"/>
              </a:ext>
            </a:extLst>
          </p:cNvPr>
          <p:cNvSpPr/>
          <p:nvPr/>
        </p:nvSpPr>
        <p:spPr>
          <a:xfrm>
            <a:off x="442930" y="2840720"/>
            <a:ext cx="11318857" cy="536505"/>
          </a:xfrm>
          <a:prstGeom prst="rect">
            <a:avLst/>
          </a:prstGeom>
          <a:solidFill>
            <a:schemeClr val="bg1"/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FE1191F-632A-7FDA-C9FA-F14DC15C8B03}"/>
              </a:ext>
            </a:extLst>
          </p:cNvPr>
          <p:cNvSpPr/>
          <p:nvPr/>
        </p:nvSpPr>
        <p:spPr>
          <a:xfrm>
            <a:off x="442930" y="4642672"/>
            <a:ext cx="11318857" cy="5795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940AF52-7E7A-8CE3-CF95-476F94290DD5}"/>
              </a:ext>
            </a:extLst>
          </p:cNvPr>
          <p:cNvSpPr/>
          <p:nvPr/>
        </p:nvSpPr>
        <p:spPr>
          <a:xfrm>
            <a:off x="442930" y="3437131"/>
            <a:ext cx="11318857" cy="5795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BE58AFD-2B3D-6A20-743B-842DD2FAD476}"/>
              </a:ext>
            </a:extLst>
          </p:cNvPr>
          <p:cNvSpPr/>
          <p:nvPr/>
        </p:nvSpPr>
        <p:spPr>
          <a:xfrm>
            <a:off x="442930" y="2231590"/>
            <a:ext cx="11318857" cy="5795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F199E1B-A3E2-F155-1F60-7E82DA3CC995}"/>
              </a:ext>
            </a:extLst>
          </p:cNvPr>
          <p:cNvSpPr/>
          <p:nvPr/>
        </p:nvSpPr>
        <p:spPr>
          <a:xfrm>
            <a:off x="442930" y="5848212"/>
            <a:ext cx="11318857" cy="5795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72000" rIns="72000" bIns="72000" rtlCol="0" anchor="ctr">
            <a:noAutofit/>
          </a:bodyPr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DFFF37FD-794D-10FC-E057-C902DA7EDA54}"/>
              </a:ext>
            </a:extLst>
          </p:cNvPr>
          <p:cNvSpPr txBox="1"/>
          <p:nvPr/>
        </p:nvSpPr>
        <p:spPr>
          <a:xfrm>
            <a:off x="542945" y="2276539"/>
            <a:ext cx="1954589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2022-1206</a:t>
            </a:r>
          </a:p>
        </p:txBody>
      </p:sp>
      <p:sp>
        <p:nvSpPr>
          <p:cNvPr id="41" name="TextBox 5">
            <a:extLst>
              <a:ext uri="{FF2B5EF4-FFF2-40B4-BE49-F238E27FC236}">
                <a16:creationId xmlns:a16="http://schemas.microsoft.com/office/drawing/2014/main" id="{22C09F7E-4E53-3E5F-15C1-DC1BB12383FB}"/>
              </a:ext>
            </a:extLst>
          </p:cNvPr>
          <p:cNvSpPr txBox="1"/>
          <p:nvPr/>
        </p:nvSpPr>
        <p:spPr>
          <a:xfrm>
            <a:off x="9396768" y="2276539"/>
            <a:ext cx="2101126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Accompaniment</a:t>
            </a:r>
          </a:p>
        </p:txBody>
      </p:sp>
      <p:sp>
        <p:nvSpPr>
          <p:cNvPr id="42" name="TextBox 5">
            <a:extLst>
              <a:ext uri="{FF2B5EF4-FFF2-40B4-BE49-F238E27FC236}">
                <a16:creationId xmlns:a16="http://schemas.microsoft.com/office/drawing/2014/main" id="{AC94DF3D-112D-125E-B96D-7AB0E87BF631}"/>
              </a:ext>
            </a:extLst>
          </p:cNvPr>
          <p:cNvSpPr txBox="1"/>
          <p:nvPr/>
        </p:nvSpPr>
        <p:spPr>
          <a:xfrm>
            <a:off x="2741309" y="2276539"/>
            <a:ext cx="1954590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Day workshop</a:t>
            </a:r>
            <a:br>
              <a:rPr lang="en-GB" sz="1200">
                <a:cs typeface="Arial"/>
              </a:rPr>
            </a:br>
            <a:r>
              <a:rPr lang="en-GB" sz="1200">
                <a:cs typeface="Arial"/>
              </a:rPr>
              <a:t>1 day</a:t>
            </a:r>
          </a:p>
        </p:txBody>
      </p:sp>
      <p:sp>
        <p:nvSpPr>
          <p:cNvPr id="43" name="TextBox 5">
            <a:extLst>
              <a:ext uri="{FF2B5EF4-FFF2-40B4-BE49-F238E27FC236}">
                <a16:creationId xmlns:a16="http://schemas.microsoft.com/office/drawing/2014/main" id="{9D0C33D7-8B0E-DF30-91BC-81315DAB8819}"/>
              </a:ext>
            </a:extLst>
          </p:cNvPr>
          <p:cNvSpPr txBox="1"/>
          <p:nvPr/>
        </p:nvSpPr>
        <p:spPr>
          <a:xfrm>
            <a:off x="4959792" y="2276539"/>
            <a:ext cx="2118467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Day workshop on goals</a:t>
            </a:r>
          </a:p>
          <a:p>
            <a:r>
              <a:rPr lang="en-GB" sz="1200">
                <a:cs typeface="Arial"/>
              </a:rPr>
              <a:t>1 day</a:t>
            </a:r>
          </a:p>
        </p:txBody>
      </p:sp>
      <p:sp>
        <p:nvSpPr>
          <p:cNvPr id="44" name="TextBox 5">
            <a:extLst>
              <a:ext uri="{FF2B5EF4-FFF2-40B4-BE49-F238E27FC236}">
                <a16:creationId xmlns:a16="http://schemas.microsoft.com/office/drawing/2014/main" id="{2D610965-C9F6-AD44-971A-2E4D53A52314}"/>
              </a:ext>
            </a:extLst>
          </p:cNvPr>
          <p:cNvSpPr txBox="1"/>
          <p:nvPr/>
        </p:nvSpPr>
        <p:spPr>
          <a:xfrm>
            <a:off x="7178285" y="2276539"/>
            <a:ext cx="2118467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Recommendation</a:t>
            </a:r>
          </a:p>
          <a:p>
            <a:r>
              <a:rPr lang="en-GB" sz="1200">
                <a:cs typeface="Arial"/>
              </a:rPr>
              <a:t>6 days</a:t>
            </a:r>
          </a:p>
        </p:txBody>
      </p:sp>
      <p:sp>
        <p:nvSpPr>
          <p:cNvPr id="50" name="TextBox 5">
            <a:extLst>
              <a:ext uri="{FF2B5EF4-FFF2-40B4-BE49-F238E27FC236}">
                <a16:creationId xmlns:a16="http://schemas.microsoft.com/office/drawing/2014/main" id="{670032D6-F37E-AA27-4825-72CE4AAC438F}"/>
              </a:ext>
            </a:extLst>
          </p:cNvPr>
          <p:cNvSpPr txBox="1"/>
          <p:nvPr/>
        </p:nvSpPr>
        <p:spPr>
          <a:xfrm>
            <a:off x="2741309" y="2882899"/>
            <a:ext cx="2149756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Review </a:t>
            </a:r>
          </a:p>
          <a:p>
            <a:r>
              <a:rPr lang="en-GB" sz="1200">
                <a:cs typeface="Arial"/>
              </a:rPr>
              <a:t>6 days</a:t>
            </a:r>
          </a:p>
        </p:txBody>
      </p:sp>
      <p:sp>
        <p:nvSpPr>
          <p:cNvPr id="51" name="TextBox 5">
            <a:extLst>
              <a:ext uri="{FF2B5EF4-FFF2-40B4-BE49-F238E27FC236}">
                <a16:creationId xmlns:a16="http://schemas.microsoft.com/office/drawing/2014/main" id="{9CFA62FA-69A5-2201-4690-4A81E6114DB1}"/>
              </a:ext>
            </a:extLst>
          </p:cNvPr>
          <p:cNvSpPr txBox="1"/>
          <p:nvPr/>
        </p:nvSpPr>
        <p:spPr>
          <a:xfrm>
            <a:off x="2741309" y="3489259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Architecture review </a:t>
            </a:r>
          </a:p>
          <a:p>
            <a:r>
              <a:rPr lang="en-GB" sz="1200">
                <a:cs typeface="Arial"/>
              </a:rPr>
              <a:t>8 days</a:t>
            </a:r>
          </a:p>
        </p:txBody>
      </p:sp>
      <p:sp>
        <p:nvSpPr>
          <p:cNvPr id="52" name="TextBox 5">
            <a:extLst>
              <a:ext uri="{FF2B5EF4-FFF2-40B4-BE49-F238E27FC236}">
                <a16:creationId xmlns:a16="http://schemas.microsoft.com/office/drawing/2014/main" id="{42175E5C-D785-0F8E-9A82-0B5AAA4A1EA3}"/>
              </a:ext>
            </a:extLst>
          </p:cNvPr>
          <p:cNvSpPr txBox="1"/>
          <p:nvPr/>
        </p:nvSpPr>
        <p:spPr>
          <a:xfrm>
            <a:off x="2741309" y="4105740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Infrastructure review</a:t>
            </a:r>
          </a:p>
          <a:p>
            <a:r>
              <a:rPr lang="en-GB" sz="1200">
                <a:cs typeface="Arial"/>
              </a:rPr>
              <a:t>4 days</a:t>
            </a:r>
          </a:p>
        </p:txBody>
      </p:sp>
      <p:sp>
        <p:nvSpPr>
          <p:cNvPr id="53" name="TextBox 5">
            <a:extLst>
              <a:ext uri="{FF2B5EF4-FFF2-40B4-BE49-F238E27FC236}">
                <a16:creationId xmlns:a16="http://schemas.microsoft.com/office/drawing/2014/main" id="{DF75CF9A-4837-9E26-FD06-79CA9714FC8D}"/>
              </a:ext>
            </a:extLst>
          </p:cNvPr>
          <p:cNvSpPr txBox="1"/>
          <p:nvPr/>
        </p:nvSpPr>
        <p:spPr>
          <a:xfrm>
            <a:off x="2741309" y="4701979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Analysis </a:t>
            </a:r>
          </a:p>
          <a:p>
            <a:r>
              <a:rPr lang="en-GB" sz="1200">
                <a:cs typeface="Arial"/>
              </a:rPr>
              <a:t>4 days</a:t>
            </a:r>
          </a:p>
        </p:txBody>
      </p:sp>
      <p:sp>
        <p:nvSpPr>
          <p:cNvPr id="54" name="TextBox 5">
            <a:extLst>
              <a:ext uri="{FF2B5EF4-FFF2-40B4-BE49-F238E27FC236}">
                <a16:creationId xmlns:a16="http://schemas.microsoft.com/office/drawing/2014/main" id="{10AC04FF-0CA3-DA15-744D-3B667C314570}"/>
              </a:ext>
            </a:extLst>
          </p:cNvPr>
          <p:cNvSpPr txBox="1"/>
          <p:nvPr/>
        </p:nvSpPr>
        <p:spPr>
          <a:xfrm>
            <a:off x="2741309" y="5294051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Skills and training requirements 3.5 days</a:t>
            </a:r>
          </a:p>
        </p:txBody>
      </p:sp>
      <p:sp>
        <p:nvSpPr>
          <p:cNvPr id="55" name="TextBox 5">
            <a:extLst>
              <a:ext uri="{FF2B5EF4-FFF2-40B4-BE49-F238E27FC236}">
                <a16:creationId xmlns:a16="http://schemas.microsoft.com/office/drawing/2014/main" id="{ED3F6F10-3E96-BC7C-6809-D4C2736D9E4F}"/>
              </a:ext>
            </a:extLst>
          </p:cNvPr>
          <p:cNvSpPr txBox="1"/>
          <p:nvPr/>
        </p:nvSpPr>
        <p:spPr>
          <a:xfrm>
            <a:off x="4959792" y="2882899"/>
            <a:ext cx="2149756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Code review </a:t>
            </a:r>
          </a:p>
          <a:p>
            <a:r>
              <a:rPr lang="en-GB" sz="1200">
                <a:cs typeface="Arial"/>
              </a:rPr>
              <a:t>0.5 day</a:t>
            </a:r>
          </a:p>
        </p:txBody>
      </p:sp>
      <p:sp>
        <p:nvSpPr>
          <p:cNvPr id="56" name="TextBox 5">
            <a:extLst>
              <a:ext uri="{FF2B5EF4-FFF2-40B4-BE49-F238E27FC236}">
                <a16:creationId xmlns:a16="http://schemas.microsoft.com/office/drawing/2014/main" id="{66DE1AAF-08DD-9B7B-8DF9-FBFC71D314D4}"/>
              </a:ext>
            </a:extLst>
          </p:cNvPr>
          <p:cNvSpPr txBox="1"/>
          <p:nvPr/>
        </p:nvSpPr>
        <p:spPr>
          <a:xfrm>
            <a:off x="4959792" y="3489259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Evaluation architecture review</a:t>
            </a:r>
          </a:p>
          <a:p>
            <a:r>
              <a:rPr lang="en-GB" sz="1200">
                <a:cs typeface="Arial"/>
              </a:rPr>
              <a:t>1 day</a:t>
            </a:r>
          </a:p>
        </p:txBody>
      </p:sp>
      <p:sp>
        <p:nvSpPr>
          <p:cNvPr id="57" name="TextBox 5">
            <a:extLst>
              <a:ext uri="{FF2B5EF4-FFF2-40B4-BE49-F238E27FC236}">
                <a16:creationId xmlns:a16="http://schemas.microsoft.com/office/drawing/2014/main" id="{FAC826FF-9210-FC43-1CC8-6E18691DB4E5}"/>
              </a:ext>
            </a:extLst>
          </p:cNvPr>
          <p:cNvSpPr txBox="1"/>
          <p:nvPr/>
        </p:nvSpPr>
        <p:spPr>
          <a:xfrm>
            <a:off x="4959792" y="4105740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Extended infrastructure review 0.5 day</a:t>
            </a:r>
          </a:p>
        </p:txBody>
      </p:sp>
      <p:sp>
        <p:nvSpPr>
          <p:cNvPr id="58" name="TextBox 5">
            <a:extLst>
              <a:ext uri="{FF2B5EF4-FFF2-40B4-BE49-F238E27FC236}">
                <a16:creationId xmlns:a16="http://schemas.microsoft.com/office/drawing/2014/main" id="{CE87ED00-1F7E-E06E-8A6A-3C4578C03CAB}"/>
              </a:ext>
            </a:extLst>
          </p:cNvPr>
          <p:cNvSpPr txBox="1"/>
          <p:nvPr/>
        </p:nvSpPr>
        <p:spPr>
          <a:xfrm>
            <a:off x="4959792" y="4701979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Evaluation Analysis </a:t>
            </a:r>
          </a:p>
          <a:p>
            <a:r>
              <a:rPr lang="en-GB" sz="1200">
                <a:cs typeface="Arial"/>
              </a:rPr>
              <a:t>6 days</a:t>
            </a:r>
          </a:p>
        </p:txBody>
      </p:sp>
      <p:sp>
        <p:nvSpPr>
          <p:cNvPr id="59" name="TextBox 5">
            <a:extLst>
              <a:ext uri="{FF2B5EF4-FFF2-40B4-BE49-F238E27FC236}">
                <a16:creationId xmlns:a16="http://schemas.microsoft.com/office/drawing/2014/main" id="{CBD75D5A-8081-E980-8240-AED7D6138AF5}"/>
              </a:ext>
            </a:extLst>
          </p:cNvPr>
          <p:cNvSpPr txBox="1"/>
          <p:nvPr/>
        </p:nvSpPr>
        <p:spPr>
          <a:xfrm>
            <a:off x="4959792" y="5294051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Eval. of training requirements</a:t>
            </a:r>
          </a:p>
          <a:p>
            <a:r>
              <a:rPr lang="en-GB" sz="1200">
                <a:cs typeface="Arial"/>
              </a:rPr>
              <a:t>1 day + preparation</a:t>
            </a:r>
          </a:p>
        </p:txBody>
      </p:sp>
      <p:sp>
        <p:nvSpPr>
          <p:cNvPr id="60" name="TextBox 5">
            <a:extLst>
              <a:ext uri="{FF2B5EF4-FFF2-40B4-BE49-F238E27FC236}">
                <a16:creationId xmlns:a16="http://schemas.microsoft.com/office/drawing/2014/main" id="{11517DDB-40D7-07BE-55F9-ACAF29957E8D}"/>
              </a:ext>
            </a:extLst>
          </p:cNvPr>
          <p:cNvSpPr txBox="1"/>
          <p:nvPr/>
        </p:nvSpPr>
        <p:spPr>
          <a:xfrm>
            <a:off x="2741309" y="5914697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Stakeholder interviews</a:t>
            </a:r>
          </a:p>
          <a:p>
            <a:r>
              <a:rPr lang="en-GB" sz="1200">
                <a:cs typeface="Arial"/>
              </a:rPr>
              <a:t>1 day</a:t>
            </a:r>
          </a:p>
        </p:txBody>
      </p:sp>
      <p:sp>
        <p:nvSpPr>
          <p:cNvPr id="61" name="TextBox 5">
            <a:extLst>
              <a:ext uri="{FF2B5EF4-FFF2-40B4-BE49-F238E27FC236}">
                <a16:creationId xmlns:a16="http://schemas.microsoft.com/office/drawing/2014/main" id="{4E75886F-3887-C511-5ED7-917BC1F761F7}"/>
              </a:ext>
            </a:extLst>
          </p:cNvPr>
          <p:cNvSpPr txBox="1"/>
          <p:nvPr/>
        </p:nvSpPr>
        <p:spPr>
          <a:xfrm>
            <a:off x="7178285" y="2882899"/>
            <a:ext cx="2235834" cy="446606"/>
          </a:xfrm>
          <a:prstGeom prst="rect">
            <a:avLst/>
          </a:prstGeom>
          <a:noFill/>
          <a:ln>
            <a:noFill/>
          </a:ln>
        </p:spPr>
        <p:txBody>
          <a:bodyPr wrap="square" lIns="0" tIns="60960" rIns="72000" bIns="60960" rtlCol="0" anchor="ctr">
            <a:noAutofit/>
          </a:bodyPr>
          <a:lstStyle/>
          <a:p>
            <a:r>
              <a:rPr lang="en-GB" sz="1200">
                <a:cs typeface="Arial"/>
              </a:rPr>
              <a:t>Presentation</a:t>
            </a:r>
          </a:p>
          <a:p>
            <a:r>
              <a:rPr lang="en-GB" sz="1200">
                <a:cs typeface="Arial"/>
              </a:rPr>
              <a:t>1 day</a:t>
            </a:r>
          </a:p>
        </p:txBody>
      </p:sp>
    </p:spTree>
    <p:extLst>
      <p:ext uri="{BB962C8B-B14F-4D97-AF65-F5344CB8AC3E}">
        <p14:creationId xmlns:p14="http://schemas.microsoft.com/office/powerpoint/2010/main" val="1798424679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723FAB-8988-17DE-6BCC-028E52395D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723FAB-8988-17DE-6BCC-028E52395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F109F5-AE82-CC69-9C00-730322950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adlin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536B71A-B189-6915-B8EB-6242A43520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7926" y="3116329"/>
            <a:ext cx="3240000" cy="181694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A03249F2-2831-F1EA-FEC6-E8E148C270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63637" y="5014800"/>
            <a:ext cx="540000" cy="540000"/>
          </a:xfrm>
          <a:prstGeom prst="rect">
            <a:avLst/>
          </a:prstGeom>
        </p:spPr>
      </p:pic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DC5835F4-7B88-5526-AF8E-F8F91248EFE7}"/>
              </a:ext>
            </a:extLst>
          </p:cNvPr>
          <p:cNvSpPr txBox="1">
            <a:spLocks/>
          </p:cNvSpPr>
          <p:nvPr/>
        </p:nvSpPr>
        <p:spPr>
          <a:xfrm>
            <a:off x="432000" y="5766057"/>
            <a:ext cx="1224000" cy="63094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14.04.22</a:t>
            </a:r>
          </a:p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Decision</a:t>
            </a:r>
          </a:p>
        </p:txBody>
      </p:sp>
      <p:sp>
        <p:nvSpPr>
          <p:cNvPr id="16" name="Inhaltsplatzhalter 1">
            <a:extLst>
              <a:ext uri="{FF2B5EF4-FFF2-40B4-BE49-F238E27FC236}">
                <a16:creationId xmlns:a16="http://schemas.microsoft.com/office/drawing/2014/main" id="{DAD2C888-72B3-A571-DE7C-ED3F34EDAF35}"/>
              </a:ext>
            </a:extLst>
          </p:cNvPr>
          <p:cNvSpPr txBox="1">
            <a:spLocks/>
          </p:cNvSpPr>
          <p:nvPr/>
        </p:nvSpPr>
        <p:spPr>
          <a:xfrm>
            <a:off x="2376000" y="5766057"/>
            <a:ext cx="1008000" cy="63094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01.05.22</a:t>
            </a:r>
          </a:p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Start VP</a:t>
            </a:r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1C865E32-6E6A-FD20-0072-900C93EDFE41}"/>
              </a:ext>
            </a:extLst>
          </p:cNvPr>
          <p:cNvSpPr txBox="1">
            <a:spLocks/>
          </p:cNvSpPr>
          <p:nvPr/>
        </p:nvSpPr>
        <p:spPr>
          <a:xfrm>
            <a:off x="4231170" y="5766057"/>
            <a:ext cx="1044000" cy="63094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01.08.22</a:t>
            </a:r>
          </a:p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End VP</a:t>
            </a:r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6B8F0FFB-68BD-6431-41A5-653D62FE2A87}"/>
              </a:ext>
            </a:extLst>
          </p:cNvPr>
          <p:cNvSpPr txBox="1">
            <a:spLocks/>
          </p:cNvSpPr>
          <p:nvPr/>
        </p:nvSpPr>
        <p:spPr>
          <a:xfrm>
            <a:off x="9473616" y="5766057"/>
            <a:ext cx="1548000" cy="63094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01.09.23</a:t>
            </a:r>
          </a:p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Go Live FAR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385BEA7E-7A80-53DC-66F4-95A318906263}"/>
              </a:ext>
            </a:extLst>
          </p:cNvPr>
          <p:cNvSpPr txBox="1">
            <a:spLocks/>
          </p:cNvSpPr>
          <p:nvPr/>
        </p:nvSpPr>
        <p:spPr>
          <a:xfrm>
            <a:off x="7745616" y="5766057"/>
            <a:ext cx="1008000" cy="63094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01.06.23</a:t>
            </a:r>
          </a:p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Go Live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493D144-CD51-F85A-A7A4-A5C4907CD58A}"/>
              </a:ext>
            </a:extLst>
          </p:cNvPr>
          <p:cNvCxnSpPr>
            <a:cxnSpLocks/>
          </p:cNvCxnSpPr>
          <p:nvPr/>
        </p:nvCxnSpPr>
        <p:spPr bwMode="auto">
          <a:xfrm flipV="1">
            <a:off x="2880000" y="1530000"/>
            <a:ext cx="0" cy="40248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156332D-D742-3CFE-07BB-45361B14D118}"/>
              </a:ext>
            </a:extLst>
          </p:cNvPr>
          <p:cNvCxnSpPr>
            <a:cxnSpLocks/>
          </p:cNvCxnSpPr>
          <p:nvPr/>
        </p:nvCxnSpPr>
        <p:spPr bwMode="auto">
          <a:xfrm flipV="1">
            <a:off x="4753170" y="1530000"/>
            <a:ext cx="0" cy="20124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54620D0-3BC0-CA76-3886-AB91FFC24B8C}"/>
              </a:ext>
            </a:extLst>
          </p:cNvPr>
          <p:cNvCxnSpPr>
            <a:cxnSpLocks/>
          </p:cNvCxnSpPr>
          <p:nvPr/>
        </p:nvCxnSpPr>
        <p:spPr bwMode="auto">
          <a:xfrm flipV="1">
            <a:off x="10247616" y="1530000"/>
            <a:ext cx="0" cy="7698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B76D40F-DD92-3769-7DD7-B3529C1DE090}"/>
              </a:ext>
            </a:extLst>
          </p:cNvPr>
          <p:cNvCxnSpPr>
            <a:cxnSpLocks/>
          </p:cNvCxnSpPr>
          <p:nvPr/>
        </p:nvCxnSpPr>
        <p:spPr bwMode="auto">
          <a:xfrm flipV="1">
            <a:off x="8249616" y="2494800"/>
            <a:ext cx="0" cy="306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0921AB95-FDCB-BBD2-D62C-C8AB9DBD4D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574662" y="3754800"/>
            <a:ext cx="540000" cy="5400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5839302B-492D-142C-9D2D-4280949B48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067486" y="2494800"/>
            <a:ext cx="540000" cy="540000"/>
          </a:xfrm>
          <a:prstGeom prst="rect">
            <a:avLst/>
          </a:prstGeom>
        </p:spPr>
      </p:pic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3B5B0826-0066-DA64-76C9-F4A0ED953BF5}"/>
              </a:ext>
            </a:extLst>
          </p:cNvPr>
          <p:cNvSpPr txBox="1">
            <a:spLocks/>
          </p:cNvSpPr>
          <p:nvPr/>
        </p:nvSpPr>
        <p:spPr>
          <a:xfrm>
            <a:off x="2880001" y="1545389"/>
            <a:ext cx="187317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Pre-project</a:t>
            </a:r>
          </a:p>
        </p:txBody>
      </p:sp>
      <p:sp>
        <p:nvSpPr>
          <p:cNvPr id="27" name="Inhaltsplatzhalter 1">
            <a:extLst>
              <a:ext uri="{FF2B5EF4-FFF2-40B4-BE49-F238E27FC236}">
                <a16:creationId xmlns:a16="http://schemas.microsoft.com/office/drawing/2014/main" id="{5274EE9F-E1C2-6019-E244-74B67B9F45BD}"/>
              </a:ext>
            </a:extLst>
          </p:cNvPr>
          <p:cNvSpPr txBox="1">
            <a:spLocks/>
          </p:cNvSpPr>
          <p:nvPr/>
        </p:nvSpPr>
        <p:spPr>
          <a:xfrm>
            <a:off x="4753169" y="1545389"/>
            <a:ext cx="5494445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kern="0">
                <a:solidFill>
                  <a:schemeClr val="tx1"/>
                </a:solidFill>
                <a:latin typeface="+mn-lt"/>
              </a:rPr>
              <a:t>Project</a:t>
            </a:r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9C7A9179-F75D-8E2E-8D5D-BA44D1F6305B}"/>
              </a:ext>
            </a:extLst>
          </p:cNvPr>
          <p:cNvSpPr txBox="1">
            <a:spLocks/>
          </p:cNvSpPr>
          <p:nvPr/>
        </p:nvSpPr>
        <p:spPr>
          <a:xfrm>
            <a:off x="10247614" y="1545389"/>
            <a:ext cx="151238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b="1" kern="0">
                <a:solidFill>
                  <a:schemeClr val="tx1"/>
                </a:solidFill>
                <a:latin typeface="+mn-lt"/>
              </a:rPr>
              <a:t>Operation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61A6F758-F01F-3E18-60D8-93F2A68587DA}"/>
              </a:ext>
            </a:extLst>
          </p:cNvPr>
          <p:cNvSpPr/>
          <p:nvPr/>
        </p:nvSpPr>
        <p:spPr>
          <a:xfrm>
            <a:off x="1524000" y="3953162"/>
            <a:ext cx="2983345" cy="1385455"/>
          </a:xfrm>
          <a:custGeom>
            <a:avLst/>
            <a:gdLst>
              <a:gd name="connsiteX0" fmla="*/ 0 w 2983345"/>
              <a:gd name="connsiteY0" fmla="*/ 1385455 h 1385455"/>
              <a:gd name="connsiteX1" fmla="*/ 840509 w 2983345"/>
              <a:gd name="connsiteY1" fmla="*/ 1191491 h 1385455"/>
              <a:gd name="connsiteX2" fmla="*/ 1838036 w 2983345"/>
              <a:gd name="connsiteY2" fmla="*/ 314037 h 1385455"/>
              <a:gd name="connsiteX3" fmla="*/ 2983345 w 2983345"/>
              <a:gd name="connsiteY3" fmla="*/ 0 h 1385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3345" h="1385455">
                <a:moveTo>
                  <a:pt x="0" y="1385455"/>
                </a:moveTo>
                <a:cubicBezTo>
                  <a:pt x="267085" y="1377758"/>
                  <a:pt x="534170" y="1370061"/>
                  <a:pt x="840509" y="1191491"/>
                </a:cubicBezTo>
                <a:cubicBezTo>
                  <a:pt x="1146848" y="1012921"/>
                  <a:pt x="1480897" y="512619"/>
                  <a:pt x="1838036" y="314037"/>
                </a:cubicBezTo>
                <a:cubicBezTo>
                  <a:pt x="2195175" y="115455"/>
                  <a:pt x="2589260" y="57727"/>
                  <a:pt x="2983345" y="0"/>
                </a:cubicBezTo>
              </a:path>
            </a:pathLst>
          </a:custGeom>
          <a:noFill/>
          <a:ln w="50800">
            <a:solidFill>
              <a:schemeClr val="tx2"/>
            </a:solidFill>
            <a:tailEnd type="triangle"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ea typeface="ＭＳ Ｐゴシック" pitchFamily="-128" charset="-128"/>
              <a:cs typeface="ＭＳ Ｐゴシック" pitchFamily="-128" charset="-128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621BF14-AA50-2BA3-5F3C-A02F32F6EAB2}"/>
              </a:ext>
            </a:extLst>
          </p:cNvPr>
          <p:cNvSpPr/>
          <p:nvPr/>
        </p:nvSpPr>
        <p:spPr>
          <a:xfrm>
            <a:off x="5237018" y="2697018"/>
            <a:ext cx="4747491" cy="1371112"/>
          </a:xfrm>
          <a:custGeom>
            <a:avLst/>
            <a:gdLst>
              <a:gd name="connsiteX0" fmla="*/ 0 w 4747491"/>
              <a:gd name="connsiteY0" fmla="*/ 1366982 h 1371112"/>
              <a:gd name="connsiteX1" fmla="*/ 1136073 w 4747491"/>
              <a:gd name="connsiteY1" fmla="*/ 1209964 h 1371112"/>
              <a:gd name="connsiteX2" fmla="*/ 3029527 w 4747491"/>
              <a:gd name="connsiteY2" fmla="*/ 314037 h 1371112"/>
              <a:gd name="connsiteX3" fmla="*/ 4747491 w 4747491"/>
              <a:gd name="connsiteY3" fmla="*/ 0 h 137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47491" h="1371112">
                <a:moveTo>
                  <a:pt x="0" y="1366982"/>
                </a:moveTo>
                <a:cubicBezTo>
                  <a:pt x="315576" y="1376218"/>
                  <a:pt x="631152" y="1385455"/>
                  <a:pt x="1136073" y="1209964"/>
                </a:cubicBezTo>
                <a:cubicBezTo>
                  <a:pt x="1640994" y="1034473"/>
                  <a:pt x="2427624" y="515698"/>
                  <a:pt x="3029527" y="314037"/>
                </a:cubicBezTo>
                <a:cubicBezTo>
                  <a:pt x="3631430" y="112376"/>
                  <a:pt x="4189460" y="56188"/>
                  <a:pt x="4747491" y="0"/>
                </a:cubicBezTo>
              </a:path>
            </a:pathLst>
          </a:custGeom>
          <a:noFill/>
          <a:ln w="50800">
            <a:solidFill>
              <a:schemeClr val="tx2"/>
            </a:solidFill>
            <a:tailEnd type="triangle"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ea typeface="ＭＳ Ｐゴシック" pitchFamily="-128" charset="-128"/>
              <a:cs typeface="ＭＳ Ｐゴシック" pitchFamily="-128" charset="-128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761EA2B8-E8D9-9CD1-C91B-A8E24C87DDB6}"/>
              </a:ext>
            </a:extLst>
          </p:cNvPr>
          <p:cNvSpPr/>
          <p:nvPr/>
        </p:nvSpPr>
        <p:spPr>
          <a:xfrm>
            <a:off x="10723418" y="2299855"/>
            <a:ext cx="1025237" cy="517236"/>
          </a:xfrm>
          <a:custGeom>
            <a:avLst/>
            <a:gdLst>
              <a:gd name="connsiteX0" fmla="*/ 0 w 1025237"/>
              <a:gd name="connsiteY0" fmla="*/ 517236 h 517236"/>
              <a:gd name="connsiteX1" fmla="*/ 314037 w 1025237"/>
              <a:gd name="connsiteY1" fmla="*/ 452581 h 517236"/>
              <a:gd name="connsiteX2" fmla="*/ 683491 w 1025237"/>
              <a:gd name="connsiteY2" fmla="*/ 129309 h 517236"/>
              <a:gd name="connsiteX3" fmla="*/ 1025237 w 1025237"/>
              <a:gd name="connsiteY3" fmla="*/ 0 h 51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5237" h="517236">
                <a:moveTo>
                  <a:pt x="0" y="517236"/>
                </a:moveTo>
                <a:cubicBezTo>
                  <a:pt x="100061" y="517235"/>
                  <a:pt x="200122" y="517235"/>
                  <a:pt x="314037" y="452581"/>
                </a:cubicBezTo>
                <a:cubicBezTo>
                  <a:pt x="427952" y="387926"/>
                  <a:pt x="564958" y="204739"/>
                  <a:pt x="683491" y="129309"/>
                </a:cubicBezTo>
                <a:cubicBezTo>
                  <a:pt x="802024" y="53879"/>
                  <a:pt x="913630" y="26939"/>
                  <a:pt x="1025237" y="0"/>
                </a:cubicBezTo>
              </a:path>
            </a:pathLst>
          </a:custGeom>
          <a:noFill/>
          <a:ln w="50800">
            <a:solidFill>
              <a:schemeClr val="tx2"/>
            </a:solidFill>
            <a:tailEnd type="triangle"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ea typeface="ＭＳ Ｐゴシック" pitchFamily="-128" charset="-128"/>
              <a:cs typeface="ＭＳ Ｐゴシック" pitchFamily="-128" charset="-128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B284633-365C-3EFD-82E3-FAD9DE9CD6C5}"/>
              </a:ext>
            </a:extLst>
          </p:cNvPr>
          <p:cNvCxnSpPr>
            <a:cxnSpLocks/>
          </p:cNvCxnSpPr>
          <p:nvPr/>
        </p:nvCxnSpPr>
        <p:spPr bwMode="auto">
          <a:xfrm flipV="1">
            <a:off x="4753170" y="4442691"/>
            <a:ext cx="0" cy="11121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1D5FEC3-0856-8D0B-1A63-1C683576D2F3}"/>
              </a:ext>
            </a:extLst>
          </p:cNvPr>
          <p:cNvCxnSpPr>
            <a:cxnSpLocks/>
          </p:cNvCxnSpPr>
          <p:nvPr/>
        </p:nvCxnSpPr>
        <p:spPr bwMode="auto">
          <a:xfrm flipV="1">
            <a:off x="10247616" y="3208145"/>
            <a:ext cx="0" cy="23466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A9DA30BB-6F24-5951-277D-4ECDE7B564DD}"/>
              </a:ext>
            </a:extLst>
          </p:cNvPr>
          <p:cNvSpPr txBox="1">
            <a:spLocks/>
          </p:cNvSpPr>
          <p:nvPr/>
        </p:nvSpPr>
        <p:spPr>
          <a:xfrm>
            <a:off x="2880001" y="2075321"/>
            <a:ext cx="1873170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sz="1600" kern="0">
                <a:solidFill>
                  <a:schemeClr val="tx1"/>
                </a:solidFill>
                <a:latin typeface="+mn-lt"/>
              </a:rPr>
              <a:t>Definition of the requirements</a:t>
            </a:r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541CEE88-35DD-09A6-C432-44566FE0C166}"/>
              </a:ext>
            </a:extLst>
          </p:cNvPr>
          <p:cNvSpPr txBox="1">
            <a:spLocks/>
          </p:cNvSpPr>
          <p:nvPr/>
        </p:nvSpPr>
        <p:spPr>
          <a:xfrm>
            <a:off x="4753169" y="2075321"/>
            <a:ext cx="5494445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sz="1600" kern="0">
                <a:solidFill>
                  <a:schemeClr val="tx1"/>
                </a:solidFill>
                <a:latin typeface="+mn-lt"/>
              </a:rPr>
              <a:t>Release project scope; iterative development process</a:t>
            </a:r>
          </a:p>
        </p:txBody>
      </p:sp>
      <p:sp>
        <p:nvSpPr>
          <p:cNvPr id="36" name="Inhaltsplatzhalter 1">
            <a:extLst>
              <a:ext uri="{FF2B5EF4-FFF2-40B4-BE49-F238E27FC236}">
                <a16:creationId xmlns:a16="http://schemas.microsoft.com/office/drawing/2014/main" id="{F02F6BF9-CE88-311F-A2FA-2EB9B62269C6}"/>
              </a:ext>
            </a:extLst>
          </p:cNvPr>
          <p:cNvSpPr txBox="1">
            <a:spLocks/>
          </p:cNvSpPr>
          <p:nvPr/>
        </p:nvSpPr>
        <p:spPr>
          <a:xfrm>
            <a:off x="8249616" y="3437632"/>
            <a:ext cx="1997993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sz="1600" kern="0">
                <a:solidFill>
                  <a:schemeClr val="tx1"/>
                </a:solidFill>
                <a:latin typeface="+mn-lt"/>
              </a:rPr>
              <a:t>Handover </a:t>
            </a:r>
            <a:br>
              <a:rPr lang="en-GB" sz="1600" kern="0">
                <a:solidFill>
                  <a:schemeClr val="tx1"/>
                </a:solidFill>
                <a:latin typeface="+mn-lt"/>
              </a:rPr>
            </a:br>
            <a:r>
              <a:rPr lang="en-GB" sz="1600" kern="0">
                <a:solidFill>
                  <a:schemeClr val="tx1"/>
                </a:solidFill>
                <a:latin typeface="+mn-lt"/>
              </a:rPr>
              <a:t>PB to prod.</a:t>
            </a:r>
          </a:p>
        </p:txBody>
      </p:sp>
      <p:sp>
        <p:nvSpPr>
          <p:cNvPr id="37" name="Inhaltsplatzhalter 1">
            <a:extLst>
              <a:ext uri="{FF2B5EF4-FFF2-40B4-BE49-F238E27FC236}">
                <a16:creationId xmlns:a16="http://schemas.microsoft.com/office/drawing/2014/main" id="{1342DE96-3D42-4F61-3BC8-8ECB13A4572B}"/>
              </a:ext>
            </a:extLst>
          </p:cNvPr>
          <p:cNvSpPr txBox="1">
            <a:spLocks/>
          </p:cNvSpPr>
          <p:nvPr/>
        </p:nvSpPr>
        <p:spPr>
          <a:xfrm>
            <a:off x="10245152" y="3437633"/>
            <a:ext cx="1512387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ctr" defTabSz="914400">
              <a:spcBef>
                <a:spcPts val="0"/>
              </a:spcBef>
              <a:spcAft>
                <a:spcPts val="600"/>
              </a:spcAft>
            </a:pPr>
            <a:r>
              <a:rPr lang="en-GB" sz="1600" kern="0">
                <a:solidFill>
                  <a:schemeClr val="tx1"/>
                </a:solidFill>
                <a:latin typeface="+mn-lt"/>
              </a:rPr>
              <a:t>Handover </a:t>
            </a:r>
            <a:br>
              <a:rPr lang="en-GB" sz="1600" kern="0">
                <a:solidFill>
                  <a:schemeClr val="tx1"/>
                </a:solidFill>
                <a:latin typeface="+mn-lt"/>
              </a:rPr>
            </a:br>
            <a:r>
              <a:rPr lang="en-GB" sz="1600" kern="0">
                <a:solidFill>
                  <a:schemeClr val="tx1"/>
                </a:solidFill>
                <a:latin typeface="+mn-lt"/>
              </a:rPr>
              <a:t>FAR to prod.</a:t>
            </a:r>
          </a:p>
        </p:txBody>
      </p:sp>
    </p:spTree>
    <p:extLst>
      <p:ext uri="{BB962C8B-B14F-4D97-AF65-F5344CB8AC3E}">
        <p14:creationId xmlns:p14="http://schemas.microsoft.com/office/powerpoint/2010/main" val="420491648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5E67BF-808F-EE9D-8077-36549D019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From </a:t>
            </a:r>
            <a:r>
              <a:rPr lang="en-GB" dirty="0" err="1"/>
              <a:t>bbv's</a:t>
            </a:r>
            <a:r>
              <a:rPr lang="en-GB" dirty="0"/>
              <a:t> point of view; jointly consolida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1BAA79-4858-B248-3081-E1E2D8E26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WOT</a:t>
            </a:r>
          </a:p>
        </p:txBody>
      </p:sp>
      <p:sp>
        <p:nvSpPr>
          <p:cNvPr id="6" name="Inhaltsplatzhalter 1">
            <a:extLst>
              <a:ext uri="{FF2B5EF4-FFF2-40B4-BE49-F238E27FC236}">
                <a16:creationId xmlns:a16="http://schemas.microsoft.com/office/drawing/2014/main" id="{E04936EC-CE58-6200-4AC6-3997BEC9A76F}"/>
              </a:ext>
            </a:extLst>
          </p:cNvPr>
          <p:cNvSpPr txBox="1">
            <a:spLocks/>
          </p:cNvSpPr>
          <p:nvPr/>
        </p:nvSpPr>
        <p:spPr>
          <a:xfrm rot="16200000">
            <a:off x="-309601" y="2902188"/>
            <a:ext cx="1987200" cy="504000"/>
          </a:xfrm>
          <a:prstGeom prst="rect">
            <a:avLst/>
          </a:prstGeom>
          <a:solidFill>
            <a:schemeClr val="tx2"/>
          </a:solidFill>
        </p:spPr>
        <p:txBody>
          <a:bodyPr wrap="square" lIns="108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 dirty="0">
                <a:solidFill>
                  <a:schemeClr val="bg1"/>
                </a:solidFill>
                <a:latin typeface="+mn-lt"/>
              </a:rPr>
              <a:t>Strengths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07CCD4A4-36AC-2F95-76FB-7531369444B6}"/>
              </a:ext>
            </a:extLst>
          </p:cNvPr>
          <p:cNvSpPr txBox="1">
            <a:spLocks/>
          </p:cNvSpPr>
          <p:nvPr/>
        </p:nvSpPr>
        <p:spPr>
          <a:xfrm>
            <a:off x="935999" y="2160588"/>
            <a:ext cx="5072625" cy="19872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7200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Internationally positioned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Potential in the implementation of agile methods recognised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Clearly structured IT landscape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Clear assignment of tasks/systems to suppliers/partners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Innovative technologies</a:t>
            </a:r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FF5A86CC-AD46-6711-F357-6F2037912E72}"/>
              </a:ext>
            </a:extLst>
          </p:cNvPr>
          <p:cNvSpPr txBox="1">
            <a:spLocks/>
          </p:cNvSpPr>
          <p:nvPr/>
        </p:nvSpPr>
        <p:spPr>
          <a:xfrm rot="16200000">
            <a:off x="10514400" y="2902188"/>
            <a:ext cx="1987200" cy="504000"/>
          </a:xfrm>
          <a:prstGeom prst="rect">
            <a:avLst/>
          </a:prstGeom>
          <a:solidFill>
            <a:schemeClr val="tx2"/>
          </a:solidFill>
        </p:spPr>
        <p:txBody>
          <a:bodyPr wrap="square" lIns="108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 dirty="0">
                <a:solidFill>
                  <a:schemeClr val="bg1"/>
                </a:solidFill>
                <a:latin typeface="+mn-lt"/>
              </a:rPr>
              <a:t>Weaknesses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8ED67E4D-71A5-B1D5-34C4-644B085D764C}"/>
              </a:ext>
            </a:extLst>
          </p:cNvPr>
          <p:cNvSpPr txBox="1">
            <a:spLocks/>
          </p:cNvSpPr>
          <p:nvPr/>
        </p:nvSpPr>
        <p:spPr>
          <a:xfrm rot="16200000">
            <a:off x="-309601" y="5182188"/>
            <a:ext cx="1987200" cy="504000"/>
          </a:xfrm>
          <a:prstGeom prst="rect">
            <a:avLst/>
          </a:prstGeom>
          <a:solidFill>
            <a:schemeClr val="tx2"/>
          </a:solidFill>
        </p:spPr>
        <p:txBody>
          <a:bodyPr wrap="square" lIns="108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 dirty="0">
                <a:solidFill>
                  <a:schemeClr val="bg1"/>
                </a:solidFill>
                <a:latin typeface="+mn-lt"/>
              </a:rPr>
              <a:t>Opportunities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9E068E06-EFDA-4BCE-7BCC-2279406695F2}"/>
              </a:ext>
            </a:extLst>
          </p:cNvPr>
          <p:cNvSpPr txBox="1">
            <a:spLocks/>
          </p:cNvSpPr>
          <p:nvPr/>
        </p:nvSpPr>
        <p:spPr>
          <a:xfrm rot="16200000">
            <a:off x="10514400" y="5182188"/>
            <a:ext cx="1987200" cy="504000"/>
          </a:xfrm>
          <a:prstGeom prst="rect">
            <a:avLst/>
          </a:prstGeom>
          <a:solidFill>
            <a:schemeClr val="tx2"/>
          </a:solidFill>
        </p:spPr>
        <p:txBody>
          <a:bodyPr wrap="square" lIns="108000" tIns="36000" rIns="0" bIns="36000" anchor="ctr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algn="l" defTabSz="914400">
              <a:spcBef>
                <a:spcPts val="0"/>
              </a:spcBef>
              <a:spcAft>
                <a:spcPts val="600"/>
              </a:spcAft>
            </a:pPr>
            <a:r>
              <a:rPr lang="en-GB" kern="0" dirty="0">
                <a:solidFill>
                  <a:schemeClr val="bg1"/>
                </a:solidFill>
                <a:latin typeface="+mn-lt"/>
              </a:rPr>
              <a:t>Threats</a:t>
            </a:r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4B1F7074-919D-F25F-C9EA-B4763FD7B7E5}"/>
              </a:ext>
            </a:extLst>
          </p:cNvPr>
          <p:cNvSpPr txBox="1">
            <a:spLocks/>
          </p:cNvSpPr>
          <p:nvPr/>
        </p:nvSpPr>
        <p:spPr>
          <a:xfrm>
            <a:off x="6184800" y="2160588"/>
            <a:ext cx="5072625" cy="19872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7200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Centralised organisation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Little knowledge of agile methods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Staff cover very thin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Some topics are handled completely externally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Too little business proximity / problems of understanding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63F504E5-6557-6EB0-4E96-52490465A964}"/>
              </a:ext>
            </a:extLst>
          </p:cNvPr>
          <p:cNvSpPr txBox="1">
            <a:spLocks/>
          </p:cNvSpPr>
          <p:nvPr/>
        </p:nvSpPr>
        <p:spPr>
          <a:xfrm>
            <a:off x="935999" y="4440588"/>
            <a:ext cx="5072625" cy="19872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7200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Introduce agility "fully"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Let business participate in IT and vice versa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Build a powerful, business-oriented IT team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Seamless integration of different solutions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Pursue a clear IT strategy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BA935457-D70A-71BC-54EE-CE0585F296E2}"/>
              </a:ext>
            </a:extLst>
          </p:cNvPr>
          <p:cNvSpPr txBox="1">
            <a:spLocks/>
          </p:cNvSpPr>
          <p:nvPr/>
        </p:nvSpPr>
        <p:spPr>
          <a:xfrm>
            <a:off x="6184800" y="4440588"/>
            <a:ext cx="5072625" cy="19872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54000" rIns="72000" bIns="54000" anchor="t">
            <a:noAutofit/>
          </a:bodyPr>
          <a:lstStyle>
            <a:lvl1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8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59991" indent="0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19982" indent="0" algn="just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0" indent="-359991" algn="just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719982" indent="-359991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80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1079973" indent="-359991" algn="l" rtl="0" eaLnBrk="1" fontAlgn="base" hangingPunct="1"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Font typeface="+mj-lt"/>
              <a:buAutoNum type="arabicPeriod"/>
              <a:defRPr sz="1400" baseline="0">
                <a:solidFill>
                  <a:schemeClr val="bg2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buClr>
                <a:srgbClr val="C00000"/>
              </a:buClr>
              <a:buFont typeface="+mj-lt"/>
              <a:buNone/>
              <a:tabLst>
                <a:tab pos="958827" algn="l"/>
              </a:tabLst>
              <a:defRPr sz="1800" baseline="0">
                <a:solidFill>
                  <a:schemeClr val="bg2"/>
                </a:solidFill>
                <a:latin typeface="+mj-lt"/>
                <a:ea typeface="+mn-ea"/>
              </a:defRPr>
            </a:lvl8pPr>
            <a:lvl9pPr marL="0" indent="0" algn="l" rtl="0" eaLnBrk="1" fontAlgn="base" hangingPunct="1">
              <a:spcBef>
                <a:spcPts val="667"/>
              </a:spcBef>
              <a:spcAft>
                <a:spcPct val="0"/>
              </a:spcAft>
              <a:defRPr sz="180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9pPr>
          </a:lstStyle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Agility is not accepted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Can the required skills be built up / recruited?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Intercultural tensions</a:t>
            </a:r>
          </a:p>
          <a:p>
            <a:pPr marL="144000" indent="-144000" algn="l" defTabSz="914400">
              <a:spcBef>
                <a:spcPts val="0"/>
              </a:spcBef>
              <a:spcAft>
                <a:spcPts val="300"/>
              </a:spcAft>
              <a:buClr>
                <a:srgbClr val="333333"/>
              </a:buClr>
              <a:buFont typeface="Arial" panose="020B0604020202020204" pitchFamily="34" charset="0"/>
              <a:buChar char="•"/>
            </a:pPr>
            <a:r>
              <a:rPr lang="en-GB" sz="1600" kern="0" dirty="0">
                <a:solidFill>
                  <a:schemeClr val="tx1"/>
                </a:solidFill>
                <a:latin typeface="+mn-lt"/>
              </a:rPr>
              <a:t>Existing partners slow dow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67A7448-66AE-5838-CCA3-889CCBB468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998" y="2232000"/>
            <a:ext cx="360000" cy="3600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C4490ED-5E1C-8016-B8EA-6863CE5CE6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1328000" y="2232000"/>
            <a:ext cx="360000" cy="3600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61CB15E-F473-1794-620F-159CE753DB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03998" y="4514400"/>
            <a:ext cx="360000" cy="360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9CC39FA-07D7-C8FD-5E6C-AA7799F7C8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1328000" y="4514400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28187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44A581FF-C990-D6A0-62F3-6C02359EE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44A581FF-C990-D6A0-62F3-6C02359EE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22B7F72-AF7E-74E8-F04D-AF8EF7BC5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xt structure with bullet lis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4330D8D-4043-6141-45FB-B6C4C245A7A3}"/>
              </a:ext>
            </a:extLst>
          </p:cNvPr>
          <p:cNvGrpSpPr/>
          <p:nvPr/>
        </p:nvGrpSpPr>
        <p:grpSpPr>
          <a:xfrm>
            <a:off x="431999" y="1528763"/>
            <a:ext cx="11329789" cy="4903005"/>
            <a:chOff x="839408" y="1605051"/>
            <a:chExt cx="10922380" cy="4547348"/>
          </a:xfrm>
        </p:grpSpPr>
        <p:sp>
          <p:nvSpPr>
            <p:cNvPr id="13" name="Textplatzhalter 2">
              <a:extLst>
                <a:ext uri="{FF2B5EF4-FFF2-40B4-BE49-F238E27FC236}">
                  <a16:creationId xmlns:a16="http://schemas.microsoft.com/office/drawing/2014/main" id="{C25A67B7-87C2-6559-F9D4-1C00AB1886A8}"/>
                </a:ext>
              </a:extLst>
            </p:cNvPr>
            <p:cNvSpPr txBox="1">
              <a:spLocks/>
            </p:cNvSpPr>
            <p:nvPr/>
          </p:nvSpPr>
          <p:spPr>
            <a:xfrm>
              <a:off x="1404890" y="1605051"/>
              <a:ext cx="10356898" cy="97558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144000" tIns="144000" rIns="144000" bIns="144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</a:pPr>
              <a:r>
                <a:rPr lang="en-GB" sz="1800">
                  <a:solidFill>
                    <a:schemeClr val="tx1"/>
                  </a:solidFill>
                  <a:sym typeface="Calibri Light" panose="020F0302020204030204" pitchFamily="34" charset="0"/>
                </a:rPr>
                <a:t>Lorem ipsum dolor sit amet, consetetur sadipscing elitr, sed diam nonumy eirmod tempor invidunt ut labore et dolore magna aliquyam erat.</a:t>
              </a:r>
            </a:p>
          </p:txBody>
        </p:sp>
        <p:sp>
          <p:nvSpPr>
            <p:cNvPr id="14" name="Textplatzhalter 2">
              <a:extLst>
                <a:ext uri="{FF2B5EF4-FFF2-40B4-BE49-F238E27FC236}">
                  <a16:creationId xmlns:a16="http://schemas.microsoft.com/office/drawing/2014/main" id="{785C2665-1032-7F07-F55F-282987A7A4AD}"/>
                </a:ext>
              </a:extLst>
            </p:cNvPr>
            <p:cNvSpPr txBox="1">
              <a:spLocks/>
            </p:cNvSpPr>
            <p:nvPr/>
          </p:nvSpPr>
          <p:spPr>
            <a:xfrm>
              <a:off x="1404890" y="2776803"/>
              <a:ext cx="10356898" cy="97558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144000" tIns="144000" rIns="144000" bIns="144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</a:pPr>
              <a:r>
                <a:rPr lang="en-GB" sz="1800">
                  <a:solidFill>
                    <a:schemeClr val="tx1"/>
                  </a:solidFill>
                  <a:sym typeface="Calibri Light" panose="020F0302020204030204" pitchFamily="34" charset="0"/>
                </a:rPr>
                <a:t>Lorem ipsum dolor sit amet, consetetur sadipscing elitr.</a:t>
              </a:r>
            </a:p>
          </p:txBody>
        </p:sp>
        <p:sp>
          <p:nvSpPr>
            <p:cNvPr id="15" name="Textplatzhalter 2">
              <a:extLst>
                <a:ext uri="{FF2B5EF4-FFF2-40B4-BE49-F238E27FC236}">
                  <a16:creationId xmlns:a16="http://schemas.microsoft.com/office/drawing/2014/main" id="{F886DD39-9A30-0A03-535E-340E886CF476}"/>
                </a:ext>
              </a:extLst>
            </p:cNvPr>
            <p:cNvSpPr txBox="1">
              <a:spLocks/>
            </p:cNvSpPr>
            <p:nvPr/>
          </p:nvSpPr>
          <p:spPr>
            <a:xfrm>
              <a:off x="1404890" y="3961781"/>
              <a:ext cx="10356898" cy="97558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144000" tIns="144000" rIns="144000" bIns="144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</a:pPr>
              <a:r>
                <a:rPr lang="en-GB" sz="1800">
                  <a:solidFill>
                    <a:schemeClr val="tx1"/>
                  </a:solidFill>
                  <a:sym typeface="Calibri Light" panose="020F0302020204030204" pitchFamily="34" charset="0"/>
                </a:rPr>
                <a:t>Lorem ipsum dolor sit amet, consetetur sadipscing elitr, sed diam nonumy eirmod tempor invidunt ut labore et dolore magna aliquyam erat.</a:t>
              </a:r>
            </a:p>
          </p:txBody>
        </p:sp>
        <p:sp>
          <p:nvSpPr>
            <p:cNvPr id="16" name="Textplatzhalter 2">
              <a:extLst>
                <a:ext uri="{FF2B5EF4-FFF2-40B4-BE49-F238E27FC236}">
                  <a16:creationId xmlns:a16="http://schemas.microsoft.com/office/drawing/2014/main" id="{EB26B697-98F4-2E63-DC9D-8C1718D9CBBE}"/>
                </a:ext>
              </a:extLst>
            </p:cNvPr>
            <p:cNvSpPr txBox="1">
              <a:spLocks/>
            </p:cNvSpPr>
            <p:nvPr/>
          </p:nvSpPr>
          <p:spPr>
            <a:xfrm>
              <a:off x="1404890" y="5140600"/>
              <a:ext cx="10356898" cy="100810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144000" tIns="144000" rIns="144000" bIns="144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</a:pPr>
              <a:r>
                <a:rPr lang="en-GB" sz="1800">
                  <a:solidFill>
                    <a:schemeClr val="tx1"/>
                  </a:solidFill>
                  <a:sym typeface="Calibri Light" panose="020F0302020204030204" pitchFamily="34" charset="0"/>
                </a:rPr>
                <a:t>Lorem ipsum dolor sit amet, consetetur sadipscing elitr, sed diam nonumy eirmod tempor invidunt ut labore.</a:t>
              </a:r>
            </a:p>
          </p:txBody>
        </p:sp>
        <p:sp>
          <p:nvSpPr>
            <p:cNvPr id="17" name="Textplatzhalter 2">
              <a:extLst>
                <a:ext uri="{FF2B5EF4-FFF2-40B4-BE49-F238E27FC236}">
                  <a16:creationId xmlns:a16="http://schemas.microsoft.com/office/drawing/2014/main" id="{1EE651FF-6B99-E65F-6674-BB0D0E065274}"/>
                </a:ext>
              </a:extLst>
            </p:cNvPr>
            <p:cNvSpPr txBox="1">
              <a:spLocks/>
            </p:cNvSpPr>
            <p:nvPr/>
          </p:nvSpPr>
          <p:spPr>
            <a:xfrm>
              <a:off x="839408" y="1605168"/>
              <a:ext cx="494940" cy="1025859"/>
            </a:xfrm>
            <a:prstGeom prst="rect">
              <a:avLst/>
            </a:prstGeom>
            <a:solidFill>
              <a:srgbClr val="005194"/>
            </a:solidFill>
          </p:spPr>
          <p:txBody>
            <a:bodyPr vert="horz" lIns="144000" tIns="144000" rIns="144000" bIns="14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3200">
                  <a:solidFill>
                    <a:schemeClr val="bg1"/>
                  </a:solidFill>
                  <a:cs typeface="Arial" panose="020B0604020202020204" pitchFamily="34" charset="0"/>
                  <a:sym typeface="Calibri Light" panose="020F0302020204030204" pitchFamily="34" charset="0"/>
                </a:rPr>
                <a:t>1</a:t>
              </a:r>
            </a:p>
          </p:txBody>
        </p:sp>
        <p:sp>
          <p:nvSpPr>
            <p:cNvPr id="18" name="Textplatzhalter 2">
              <a:extLst>
                <a:ext uri="{FF2B5EF4-FFF2-40B4-BE49-F238E27FC236}">
                  <a16:creationId xmlns:a16="http://schemas.microsoft.com/office/drawing/2014/main" id="{6E525A54-FC7D-D421-8AF3-B04FE3408418}"/>
                </a:ext>
              </a:extLst>
            </p:cNvPr>
            <p:cNvSpPr txBox="1">
              <a:spLocks/>
            </p:cNvSpPr>
            <p:nvPr/>
          </p:nvSpPr>
          <p:spPr>
            <a:xfrm>
              <a:off x="839408" y="2763197"/>
              <a:ext cx="494940" cy="1025859"/>
            </a:xfrm>
            <a:prstGeom prst="rect">
              <a:avLst/>
            </a:prstGeom>
            <a:solidFill>
              <a:srgbClr val="3374A9"/>
            </a:solidFill>
          </p:spPr>
          <p:txBody>
            <a:bodyPr vert="horz" lIns="144000" tIns="144000" rIns="144000" bIns="14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3200">
                  <a:solidFill>
                    <a:schemeClr val="bg1"/>
                  </a:solidFill>
                  <a:cs typeface="Arial" panose="020B0604020202020204" pitchFamily="34" charset="0"/>
                  <a:sym typeface="Calibri Light" panose="020F0302020204030204" pitchFamily="34" charset="0"/>
                </a:rPr>
                <a:t>2</a:t>
              </a:r>
            </a:p>
          </p:txBody>
        </p:sp>
        <p:sp>
          <p:nvSpPr>
            <p:cNvPr id="19" name="Textplatzhalter 2">
              <a:extLst>
                <a:ext uri="{FF2B5EF4-FFF2-40B4-BE49-F238E27FC236}">
                  <a16:creationId xmlns:a16="http://schemas.microsoft.com/office/drawing/2014/main" id="{066C1CF6-D585-346D-729F-B37B63144B85}"/>
                </a:ext>
              </a:extLst>
            </p:cNvPr>
            <p:cNvSpPr txBox="1">
              <a:spLocks/>
            </p:cNvSpPr>
            <p:nvPr/>
          </p:nvSpPr>
          <p:spPr>
            <a:xfrm>
              <a:off x="839408" y="3948175"/>
              <a:ext cx="494940" cy="1025859"/>
            </a:xfrm>
            <a:prstGeom prst="rect">
              <a:avLst/>
            </a:prstGeom>
            <a:solidFill>
              <a:srgbClr val="6697BF"/>
            </a:solidFill>
          </p:spPr>
          <p:txBody>
            <a:bodyPr vert="horz" lIns="144000" tIns="144000" rIns="144000" bIns="14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2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396000" indent="-18000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3200">
                  <a:solidFill>
                    <a:schemeClr val="bg1"/>
                  </a:solidFill>
                  <a:cs typeface="Arial" panose="020B0604020202020204" pitchFamily="34" charset="0"/>
                  <a:sym typeface="Calibri Light" panose="020F0302020204030204" pitchFamily="34" charset="0"/>
                </a:rPr>
                <a:t>3</a:t>
              </a:r>
            </a:p>
          </p:txBody>
        </p:sp>
        <p:sp>
          <p:nvSpPr>
            <p:cNvPr id="20" name="Textplatzhalter 2">
              <a:extLst>
                <a:ext uri="{FF2B5EF4-FFF2-40B4-BE49-F238E27FC236}">
                  <a16:creationId xmlns:a16="http://schemas.microsoft.com/office/drawing/2014/main" id="{2B57D24A-9656-B81C-8F6A-A1287A4A4BDB}"/>
                </a:ext>
              </a:extLst>
            </p:cNvPr>
            <p:cNvSpPr txBox="1">
              <a:spLocks/>
            </p:cNvSpPr>
            <p:nvPr/>
          </p:nvSpPr>
          <p:spPr>
            <a:xfrm>
              <a:off x="839408" y="5126540"/>
              <a:ext cx="494940" cy="1025859"/>
            </a:xfrm>
            <a:prstGeom prst="rect">
              <a:avLst/>
            </a:prstGeom>
            <a:solidFill>
              <a:srgbClr val="99B9D4"/>
            </a:solidFill>
          </p:spPr>
          <p:txBody>
            <a:bodyPr vert="horz" lIns="144000" tIns="144000" rIns="144000" bIns="144000" rtlCol="0" anchor="ctr" anchorCtr="0">
              <a:noAutofit/>
            </a:bodyPr>
            <a:lstStyle>
              <a:defPPr>
                <a:defRPr lang="en-US"/>
              </a:defPPr>
              <a:lvl1pPr indent="0" algn="r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Tx/>
                <a:buNone/>
                <a:defRPr sz="3200" b="1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0" indent="0">
                <a:lnSpc>
                  <a:spcPct val="90000"/>
                </a:lnSpc>
                <a:spcBef>
                  <a:spcPts val="900"/>
                </a:spcBef>
                <a:buFontTx/>
                <a:buNone/>
                <a:defRPr sz="2000">
                  <a:solidFill>
                    <a:schemeClr val="tx2"/>
                  </a:solidFill>
                </a:defRPr>
              </a:lvl2pPr>
              <a:lvl3pPr marL="216000" indent="-2160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3pPr>
              <a:lvl4pPr marL="396000" indent="-18000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4pPr>
              <a:lvl5pPr marL="576000" indent="-144000">
                <a:lnSpc>
                  <a:spcPct val="90000"/>
                </a:lnSpc>
                <a:spcBef>
                  <a:spcPts val="1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5pPr>
              <a:lvl6pPr marL="0" indent="0">
                <a:lnSpc>
                  <a:spcPct val="90000"/>
                </a:lnSpc>
                <a:spcBef>
                  <a:spcPts val="600"/>
                </a:spcBef>
                <a:buFontTx/>
                <a:buNone/>
                <a:defRPr sz="1400" b="1">
                  <a:solidFill>
                    <a:schemeClr val="tx2"/>
                  </a:solidFill>
                </a:defRPr>
              </a:lvl6pPr>
              <a:lvl7pPr marL="0" indent="0">
                <a:lnSpc>
                  <a:spcPct val="90000"/>
                </a:lnSpc>
                <a:spcBef>
                  <a:spcPts val="300"/>
                </a:spcBef>
                <a:buFontTx/>
                <a:buNone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7pPr>
              <a:lvl8pPr marL="180000" indent="-180000">
                <a:lnSpc>
                  <a:spcPct val="90000"/>
                </a:lnSpc>
                <a:spcBef>
                  <a:spcPts val="2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8pPr>
              <a:lvl9pPr marL="360000" indent="-180000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9pPr>
            </a:lstStyle>
            <a:p>
              <a:pPr algn="ctr"/>
              <a:r>
                <a:rPr lang="en-GB" i="0">
                  <a:latin typeface="+mn-lt"/>
                  <a:sym typeface="Calibri Light" panose="020F030202020403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71653918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1AFFEF-460E-64E4-0405-EEB2A11C3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1AFFEF-460E-64E4-0405-EEB2A11C3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EBDE2C9-FEDD-FD24-3090-F6ED0926F09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GB" kern="1400">
                <a:ea typeface="ＭＳ Ｐゴシック" pitchFamily="34" charset="-128"/>
                <a:cs typeface="Arial" panose="020B0604020202020204" pitchFamily="34" charset="0"/>
                <a:sym typeface="Calibri Light" panose="020F0302020204030204" pitchFamily="34" charset="0"/>
              </a:rPr>
              <a:t>Lorem ipsum dolor si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D0D77A-FBA5-59FF-011C-89419F795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cess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5B9DAE7C-263E-0AEA-0691-9CBE52FCB3B3}"/>
              </a:ext>
            </a:extLst>
          </p:cNvPr>
          <p:cNvSpPr txBox="1">
            <a:spLocks/>
          </p:cNvSpPr>
          <p:nvPr/>
        </p:nvSpPr>
        <p:spPr>
          <a:xfrm>
            <a:off x="3157538" y="2157413"/>
            <a:ext cx="8604250" cy="91691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Lorem ipsum dolor sit amet, consetetur sadipscing elitr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Sed diam nonumy eirmod tempor invidunt ut labore et dolore magna aliquyam erat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AEF82094-AF6A-7221-454B-A3A5B09F18FA}"/>
              </a:ext>
            </a:extLst>
          </p:cNvPr>
          <p:cNvSpPr txBox="1">
            <a:spLocks/>
          </p:cNvSpPr>
          <p:nvPr/>
        </p:nvSpPr>
        <p:spPr>
          <a:xfrm>
            <a:off x="3157538" y="3258689"/>
            <a:ext cx="8604250" cy="91691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Lorem ipsum dolor sit amet, consetetur sadipscing elitr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amet, consetetur sadipscing elitr, sed diam nonumy eirmod tempor invidunt ut labore et dolore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F24F0D6B-79D8-C9B3-3E2E-EEAD5B96E762}"/>
              </a:ext>
            </a:extLst>
          </p:cNvPr>
          <p:cNvSpPr txBox="1">
            <a:spLocks/>
          </p:cNvSpPr>
          <p:nvPr/>
        </p:nvSpPr>
        <p:spPr>
          <a:xfrm>
            <a:off x="3157538" y="4372395"/>
            <a:ext cx="8604250" cy="916912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Lorem ipsum dolor sit amet, consetetur sadipscing elitr, sed diam nonumy eirmod tempor 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amet, consetetur sadipscing elitr, sed diam nonumy eirmod tempor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sed diam nonumy eirmod tempor invidunt ut labore et dolore magna aliquyam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6AB5F4C-4434-16C6-0221-F357CCF62F2A}"/>
              </a:ext>
            </a:extLst>
          </p:cNvPr>
          <p:cNvSpPr txBox="1">
            <a:spLocks/>
          </p:cNvSpPr>
          <p:nvPr/>
        </p:nvSpPr>
        <p:spPr>
          <a:xfrm>
            <a:off x="3157538" y="5480314"/>
            <a:ext cx="8604250" cy="947475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Lorem ipsum dolor sit amet, consetetur sadipscing elitr, sed diam nonumy eirmod tempor invidunt ut labore</a:t>
            </a:r>
          </a:p>
          <a:p>
            <a:pPr marL="285750" lvl="1" indent="-2857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300">
                <a:solidFill>
                  <a:schemeClr val="tx1"/>
                </a:solidFill>
                <a:sym typeface="Calibri Light" panose="020F0302020204030204" pitchFamily="34" charset="0"/>
              </a:rPr>
              <a:t>amet, consetetur sadipscing elitr, sed diam nonumy eirmod tempor invidunt ut labore et dolore magna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6CA7BE28-283E-EDA8-5844-97BB4BD7B196}"/>
              </a:ext>
            </a:extLst>
          </p:cNvPr>
          <p:cNvSpPr txBox="1">
            <a:spLocks/>
          </p:cNvSpPr>
          <p:nvPr/>
        </p:nvSpPr>
        <p:spPr>
          <a:xfrm>
            <a:off x="442914" y="2157413"/>
            <a:ext cx="2471736" cy="916912"/>
          </a:xfrm>
          <a:prstGeom prst="homePlate">
            <a:avLst/>
          </a:prstGeom>
          <a:solidFill>
            <a:srgbClr val="005194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en-GB" sz="1300">
                <a:solidFill>
                  <a:schemeClr val="bg1"/>
                </a:solidFill>
                <a:sym typeface="Calibri Light" panose="020F0302020204030204" pitchFamily="34" charset="0"/>
              </a:rPr>
              <a:t>Lorem ipsum dolor sit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FD8782F6-87AA-0954-0DEE-8F39208C57F6}"/>
              </a:ext>
            </a:extLst>
          </p:cNvPr>
          <p:cNvSpPr txBox="1">
            <a:spLocks/>
          </p:cNvSpPr>
          <p:nvPr/>
        </p:nvSpPr>
        <p:spPr>
          <a:xfrm>
            <a:off x="442914" y="3258689"/>
            <a:ext cx="2471736" cy="916912"/>
          </a:xfrm>
          <a:prstGeom prst="homePlate">
            <a:avLst/>
          </a:prstGeom>
          <a:solidFill>
            <a:srgbClr val="3374A9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en-GB" sz="1300">
                <a:solidFill>
                  <a:schemeClr val="bg1"/>
                </a:solidFill>
                <a:sym typeface="Calibri Light" panose="020F0302020204030204" pitchFamily="34" charset="0"/>
              </a:rPr>
              <a:t>Lorem ipsum dolor sit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2F9802E6-4F79-AFA8-0F07-1C9DB49A1804}"/>
              </a:ext>
            </a:extLst>
          </p:cNvPr>
          <p:cNvSpPr txBox="1">
            <a:spLocks/>
          </p:cNvSpPr>
          <p:nvPr/>
        </p:nvSpPr>
        <p:spPr>
          <a:xfrm>
            <a:off x="442914" y="4372395"/>
            <a:ext cx="2471736" cy="916912"/>
          </a:xfrm>
          <a:prstGeom prst="homePlate">
            <a:avLst/>
          </a:prstGeom>
          <a:solidFill>
            <a:srgbClr val="6697BF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en-GB" sz="1300">
                <a:solidFill>
                  <a:schemeClr val="bg1"/>
                </a:solidFill>
                <a:sym typeface="Calibri Light" panose="020F0302020204030204" pitchFamily="34" charset="0"/>
              </a:rPr>
              <a:t>Lorem ipsum dolor sit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405BE7E3-0DCB-61CA-42D2-EBF93DD31945}"/>
              </a:ext>
            </a:extLst>
          </p:cNvPr>
          <p:cNvSpPr txBox="1">
            <a:spLocks/>
          </p:cNvSpPr>
          <p:nvPr/>
        </p:nvSpPr>
        <p:spPr>
          <a:xfrm>
            <a:off x="442914" y="5480314"/>
            <a:ext cx="2471736" cy="947475"/>
          </a:xfrm>
          <a:prstGeom prst="homePlate">
            <a:avLst/>
          </a:prstGeom>
          <a:solidFill>
            <a:srgbClr val="99B9D4"/>
          </a:solidFill>
        </p:spPr>
        <p:txBody>
          <a:bodyPr vert="horz" wrap="square" lIns="144000" tIns="144000" rIns="144000" bIns="144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96000" indent="-1800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Tx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en-GB" sz="1300">
                <a:solidFill>
                  <a:schemeClr val="bg1"/>
                </a:solidFill>
                <a:sym typeface="Calibri Light" panose="020F0302020204030204" pitchFamily="34" charset="0"/>
              </a:rPr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160133382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2FFBAF-1BA4-8345-4944-97904BB976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2FFBAF-1BA4-8345-4944-97904BB9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3002AB2-0D16-AA54-8C35-866532C6D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b solution</a:t>
            </a:r>
          </a:p>
        </p:txBody>
      </p:sp>
      <p:grpSp>
        <p:nvGrpSpPr>
          <p:cNvPr id="11" name="Group 23">
            <a:extLst>
              <a:ext uri="{FF2B5EF4-FFF2-40B4-BE49-F238E27FC236}">
                <a16:creationId xmlns:a16="http://schemas.microsoft.com/office/drawing/2014/main" id="{FEB9AB36-228A-885F-F9D8-A5926338E70E}"/>
              </a:ext>
            </a:extLst>
          </p:cNvPr>
          <p:cNvGrpSpPr/>
          <p:nvPr/>
        </p:nvGrpSpPr>
        <p:grpSpPr>
          <a:xfrm>
            <a:off x="2091750" y="2580543"/>
            <a:ext cx="3854863" cy="1240802"/>
            <a:chOff x="13057103" y="2045728"/>
            <a:chExt cx="7709726" cy="2481603"/>
          </a:xfrm>
        </p:grpSpPr>
        <p:sp>
          <p:nvSpPr>
            <p:cNvPr id="17" name="Subtitle 2">
              <a:extLst>
                <a:ext uri="{FF2B5EF4-FFF2-40B4-BE49-F238E27FC236}">
                  <a16:creationId xmlns:a16="http://schemas.microsoft.com/office/drawing/2014/main" id="{D8042BFF-D02F-A097-D6AF-3C6E1536102A}"/>
                </a:ext>
              </a:extLst>
            </p:cNvPr>
            <p:cNvSpPr txBox="1">
              <a:spLocks/>
            </p:cNvSpPr>
            <p:nvPr/>
          </p:nvSpPr>
          <p:spPr>
            <a:xfrm>
              <a:off x="13057103" y="2692060"/>
              <a:ext cx="7709726" cy="1835271"/>
            </a:xfrm>
            <a:prstGeom prst="rect">
              <a:avLst/>
            </a:prstGeom>
          </p:spPr>
          <p:txBody>
            <a:bodyPr vert="horz" wrap="square" lIns="72000" tIns="108718" rIns="217433" bIns="108718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algn="l" defTabSz="914400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</a:pP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Lorem ipsum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dolo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sit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amet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,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consetetu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sadipscing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elit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,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sed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diam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nonumy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eirmod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tempo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invidunt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ut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</a:p>
          </p:txBody>
        </p:sp>
        <p:sp>
          <p:nvSpPr>
            <p:cNvPr id="18" name="Rectangle 25">
              <a:extLst>
                <a:ext uri="{FF2B5EF4-FFF2-40B4-BE49-F238E27FC236}">
                  <a16:creationId xmlns:a16="http://schemas.microsoft.com/office/drawing/2014/main" id="{BCD906B0-8176-F81E-E933-CB10FED0676E}"/>
                </a:ext>
              </a:extLst>
            </p:cNvPr>
            <p:cNvSpPr/>
            <p:nvPr/>
          </p:nvSpPr>
          <p:spPr>
            <a:xfrm>
              <a:off x="13057103" y="2045728"/>
              <a:ext cx="5220224" cy="861774"/>
            </a:xfrm>
            <a:prstGeom prst="rect">
              <a:avLst/>
            </a:prstGeom>
          </p:spPr>
          <p:txBody>
            <a:bodyPr wrap="square" lIns="72000">
              <a:spAutoFit/>
            </a:bodyPr>
            <a:lstStyle/>
            <a:p>
              <a:pPr>
                <a:buClr>
                  <a:schemeClr val="tx1"/>
                </a:buClr>
              </a:pPr>
              <a:r>
                <a:rPr lang="en-GB" sz="2200" b="1" dirty="0">
                  <a:solidFill>
                    <a:schemeClr val="tx2"/>
                  </a:solidFill>
                  <a:sym typeface="Calibri Light" panose="020F0302020204030204" pitchFamily="34" charset="0"/>
                </a:rPr>
                <a:t>Headline</a:t>
              </a:r>
            </a:p>
          </p:txBody>
        </p:sp>
      </p:grpSp>
      <p:sp>
        <p:nvSpPr>
          <p:cNvPr id="13" name="Oval 22">
            <a:extLst>
              <a:ext uri="{FF2B5EF4-FFF2-40B4-BE49-F238E27FC236}">
                <a16:creationId xmlns:a16="http://schemas.microsoft.com/office/drawing/2014/main" id="{5CCB6903-1073-F9CB-B3A2-44F25257E30E}"/>
              </a:ext>
            </a:extLst>
          </p:cNvPr>
          <p:cNvSpPr/>
          <p:nvPr/>
        </p:nvSpPr>
        <p:spPr>
          <a:xfrm>
            <a:off x="765209" y="2632163"/>
            <a:ext cx="1142325" cy="114232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5499462-65BF-4619-DA36-F7674828AF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729A108-F597-CB28-7E2C-7ADBF4E8C6E5}"/>
              </a:ext>
            </a:extLst>
          </p:cNvPr>
          <p:cNvGrpSpPr/>
          <p:nvPr/>
        </p:nvGrpSpPr>
        <p:grpSpPr>
          <a:xfrm>
            <a:off x="5849673" y="4608762"/>
            <a:ext cx="540926" cy="411778"/>
            <a:chOff x="17083598" y="2386671"/>
            <a:chExt cx="1081851" cy="823555"/>
          </a:xfrm>
          <a:solidFill>
            <a:schemeClr val="bg1"/>
          </a:solidFill>
        </p:grpSpPr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8BB742B8-BE9D-76BC-AF90-528956F8D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5376" y="2667430"/>
              <a:ext cx="262040" cy="265783"/>
            </a:xfrm>
            <a:custGeom>
              <a:avLst/>
              <a:gdLst>
                <a:gd name="T0" fmla="*/ 83434 w 309"/>
                <a:gd name="T1" fmla="*/ 32306 h 314"/>
                <a:gd name="T2" fmla="*/ 83434 w 309"/>
                <a:gd name="T3" fmla="*/ 79329 h 314"/>
                <a:gd name="T4" fmla="*/ 83434 w 309"/>
                <a:gd name="T5" fmla="*/ 79329 h 314"/>
                <a:gd name="T6" fmla="*/ 77680 w 309"/>
                <a:gd name="T7" fmla="*/ 85790 h 314"/>
                <a:gd name="T8" fmla="*/ 32367 w 309"/>
                <a:gd name="T9" fmla="*/ 85790 h 314"/>
                <a:gd name="T10" fmla="*/ 32367 w 309"/>
                <a:gd name="T11" fmla="*/ 85790 h 314"/>
                <a:gd name="T12" fmla="*/ 26612 w 309"/>
                <a:gd name="T13" fmla="*/ 79329 h 314"/>
                <a:gd name="T14" fmla="*/ 26612 w 309"/>
                <a:gd name="T15" fmla="*/ 32306 h 314"/>
                <a:gd name="T16" fmla="*/ 26612 w 309"/>
                <a:gd name="T17" fmla="*/ 32306 h 314"/>
                <a:gd name="T18" fmla="*/ 32367 w 309"/>
                <a:gd name="T19" fmla="*/ 26204 h 314"/>
                <a:gd name="T20" fmla="*/ 77680 w 309"/>
                <a:gd name="T21" fmla="*/ 26204 h 314"/>
                <a:gd name="T22" fmla="*/ 77680 w 309"/>
                <a:gd name="T23" fmla="*/ 26204 h 314"/>
                <a:gd name="T24" fmla="*/ 83434 w 309"/>
                <a:gd name="T25" fmla="*/ 32306 h 314"/>
                <a:gd name="T26" fmla="*/ 32367 w 309"/>
                <a:gd name="T27" fmla="*/ 0 h 314"/>
                <a:gd name="T28" fmla="*/ 32367 w 309"/>
                <a:gd name="T29" fmla="*/ 0 h 314"/>
                <a:gd name="T30" fmla="*/ 0 w 309"/>
                <a:gd name="T31" fmla="*/ 32306 h 314"/>
                <a:gd name="T32" fmla="*/ 0 w 309"/>
                <a:gd name="T33" fmla="*/ 79329 h 314"/>
                <a:gd name="T34" fmla="*/ 0 w 309"/>
                <a:gd name="T35" fmla="*/ 79329 h 314"/>
                <a:gd name="T36" fmla="*/ 32367 w 309"/>
                <a:gd name="T37" fmla="*/ 112353 h 314"/>
                <a:gd name="T38" fmla="*/ 77680 w 309"/>
                <a:gd name="T39" fmla="*/ 112353 h 314"/>
                <a:gd name="T40" fmla="*/ 77680 w 309"/>
                <a:gd name="T41" fmla="*/ 112353 h 314"/>
                <a:gd name="T42" fmla="*/ 110765 w 309"/>
                <a:gd name="T43" fmla="*/ 79329 h 314"/>
                <a:gd name="T44" fmla="*/ 110765 w 309"/>
                <a:gd name="T45" fmla="*/ 32306 h 314"/>
                <a:gd name="T46" fmla="*/ 110765 w 309"/>
                <a:gd name="T47" fmla="*/ 32306 h 314"/>
                <a:gd name="T48" fmla="*/ 77680 w 309"/>
                <a:gd name="T49" fmla="*/ 0 h 314"/>
                <a:gd name="T50" fmla="*/ 32367 w 309"/>
                <a:gd name="T51" fmla="*/ 0 h 31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09" h="314">
                  <a:moveTo>
                    <a:pt x="232" y="90"/>
                  </a:moveTo>
                  <a:lnTo>
                    <a:pt x="232" y="221"/>
                  </a:lnTo>
                  <a:cubicBezTo>
                    <a:pt x="232" y="232"/>
                    <a:pt x="225" y="239"/>
                    <a:pt x="216" y="239"/>
                  </a:cubicBezTo>
                  <a:lnTo>
                    <a:pt x="90" y="239"/>
                  </a:lnTo>
                  <a:cubicBezTo>
                    <a:pt x="81" y="239"/>
                    <a:pt x="74" y="232"/>
                    <a:pt x="74" y="221"/>
                  </a:cubicBezTo>
                  <a:lnTo>
                    <a:pt x="74" y="90"/>
                  </a:lnTo>
                  <a:cubicBezTo>
                    <a:pt x="74" y="81"/>
                    <a:pt x="81" y="73"/>
                    <a:pt x="90" y="73"/>
                  </a:cubicBezTo>
                  <a:lnTo>
                    <a:pt x="216" y="73"/>
                  </a:lnTo>
                  <a:cubicBezTo>
                    <a:pt x="225" y="73"/>
                    <a:pt x="232" y="81"/>
                    <a:pt x="232" y="90"/>
                  </a:cubicBezTo>
                  <a:close/>
                  <a:moveTo>
                    <a:pt x="90" y="0"/>
                  </a:moveTo>
                  <a:lnTo>
                    <a:pt x="90" y="0"/>
                  </a:lnTo>
                  <a:cubicBezTo>
                    <a:pt x="40" y="0"/>
                    <a:pt x="0" y="39"/>
                    <a:pt x="0" y="90"/>
                  </a:cubicBezTo>
                  <a:lnTo>
                    <a:pt x="0" y="221"/>
                  </a:lnTo>
                  <a:cubicBezTo>
                    <a:pt x="0" y="272"/>
                    <a:pt x="40" y="313"/>
                    <a:pt x="90" y="313"/>
                  </a:cubicBezTo>
                  <a:lnTo>
                    <a:pt x="216" y="313"/>
                  </a:lnTo>
                  <a:cubicBezTo>
                    <a:pt x="266" y="313"/>
                    <a:pt x="308" y="272"/>
                    <a:pt x="308" y="221"/>
                  </a:cubicBezTo>
                  <a:lnTo>
                    <a:pt x="308" y="90"/>
                  </a:lnTo>
                  <a:cubicBezTo>
                    <a:pt x="308" y="39"/>
                    <a:pt x="266" y="0"/>
                    <a:pt x="216" y="0"/>
                  </a:cubicBez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DF1452A9-D95F-D5BE-4075-DBFA114BF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13020" y="2955673"/>
              <a:ext cx="426751" cy="254553"/>
            </a:xfrm>
            <a:custGeom>
              <a:avLst/>
              <a:gdLst>
                <a:gd name="T0" fmla="*/ 150993 w 501"/>
                <a:gd name="T1" fmla="*/ 78970 h 298"/>
                <a:gd name="T2" fmla="*/ 150993 w 501"/>
                <a:gd name="T3" fmla="*/ 78970 h 298"/>
                <a:gd name="T4" fmla="*/ 146658 w 501"/>
                <a:gd name="T5" fmla="*/ 80781 h 298"/>
                <a:gd name="T6" fmla="*/ 33955 w 501"/>
                <a:gd name="T7" fmla="*/ 80781 h 298"/>
                <a:gd name="T8" fmla="*/ 33955 w 501"/>
                <a:gd name="T9" fmla="*/ 80781 h 298"/>
                <a:gd name="T10" fmla="*/ 29621 w 501"/>
                <a:gd name="T11" fmla="*/ 78970 h 298"/>
                <a:gd name="T12" fmla="*/ 29621 w 501"/>
                <a:gd name="T13" fmla="*/ 78970 h 298"/>
                <a:gd name="T14" fmla="*/ 28537 w 501"/>
                <a:gd name="T15" fmla="*/ 73899 h 298"/>
                <a:gd name="T16" fmla="*/ 40096 w 501"/>
                <a:gd name="T17" fmla="*/ 30791 h 298"/>
                <a:gd name="T18" fmla="*/ 40096 w 501"/>
                <a:gd name="T19" fmla="*/ 30791 h 298"/>
                <a:gd name="T20" fmla="*/ 45515 w 501"/>
                <a:gd name="T21" fmla="*/ 26806 h 298"/>
                <a:gd name="T22" fmla="*/ 135099 w 501"/>
                <a:gd name="T23" fmla="*/ 26806 h 298"/>
                <a:gd name="T24" fmla="*/ 135099 w 501"/>
                <a:gd name="T25" fmla="*/ 26806 h 298"/>
                <a:gd name="T26" fmla="*/ 140518 w 501"/>
                <a:gd name="T27" fmla="*/ 30791 h 298"/>
                <a:gd name="T28" fmla="*/ 152077 w 501"/>
                <a:gd name="T29" fmla="*/ 73899 h 298"/>
                <a:gd name="T30" fmla="*/ 152077 w 501"/>
                <a:gd name="T31" fmla="*/ 73899 h 298"/>
                <a:gd name="T32" fmla="*/ 150993 w 501"/>
                <a:gd name="T33" fmla="*/ 78970 h 298"/>
                <a:gd name="T34" fmla="*/ 166526 w 501"/>
                <a:gd name="T35" fmla="*/ 24271 h 298"/>
                <a:gd name="T36" fmla="*/ 166526 w 501"/>
                <a:gd name="T37" fmla="*/ 24271 h 298"/>
                <a:gd name="T38" fmla="*/ 135099 w 501"/>
                <a:gd name="T39" fmla="*/ 0 h 298"/>
                <a:gd name="T40" fmla="*/ 45515 w 501"/>
                <a:gd name="T41" fmla="*/ 0 h 298"/>
                <a:gd name="T42" fmla="*/ 45515 w 501"/>
                <a:gd name="T43" fmla="*/ 0 h 298"/>
                <a:gd name="T44" fmla="*/ 14449 w 501"/>
                <a:gd name="T45" fmla="*/ 24271 h 298"/>
                <a:gd name="T46" fmla="*/ 2890 w 501"/>
                <a:gd name="T47" fmla="*/ 67016 h 298"/>
                <a:gd name="T48" fmla="*/ 2890 w 501"/>
                <a:gd name="T49" fmla="*/ 67016 h 298"/>
                <a:gd name="T50" fmla="*/ 8308 w 501"/>
                <a:gd name="T51" fmla="*/ 95271 h 298"/>
                <a:gd name="T52" fmla="*/ 8308 w 501"/>
                <a:gd name="T53" fmla="*/ 95271 h 298"/>
                <a:gd name="T54" fmla="*/ 33955 w 501"/>
                <a:gd name="T55" fmla="*/ 107588 h 298"/>
                <a:gd name="T56" fmla="*/ 146658 w 501"/>
                <a:gd name="T57" fmla="*/ 107588 h 298"/>
                <a:gd name="T58" fmla="*/ 146658 w 501"/>
                <a:gd name="T59" fmla="*/ 107588 h 298"/>
                <a:gd name="T60" fmla="*/ 172306 w 501"/>
                <a:gd name="T61" fmla="*/ 95271 h 298"/>
                <a:gd name="T62" fmla="*/ 172306 w 501"/>
                <a:gd name="T63" fmla="*/ 95271 h 298"/>
                <a:gd name="T64" fmla="*/ 177724 w 501"/>
                <a:gd name="T65" fmla="*/ 67016 h 298"/>
                <a:gd name="T66" fmla="*/ 166526 w 501"/>
                <a:gd name="T67" fmla="*/ 24271 h 2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01" h="298">
                  <a:moveTo>
                    <a:pt x="418" y="218"/>
                  </a:moveTo>
                  <a:lnTo>
                    <a:pt x="418" y="218"/>
                  </a:lnTo>
                  <a:cubicBezTo>
                    <a:pt x="416" y="220"/>
                    <a:pt x="412" y="223"/>
                    <a:pt x="406" y="223"/>
                  </a:cubicBezTo>
                  <a:lnTo>
                    <a:pt x="94" y="223"/>
                  </a:lnTo>
                  <a:cubicBezTo>
                    <a:pt x="88" y="223"/>
                    <a:pt x="83" y="220"/>
                    <a:pt x="82" y="218"/>
                  </a:cubicBezTo>
                  <a:cubicBezTo>
                    <a:pt x="81" y="216"/>
                    <a:pt x="77" y="210"/>
                    <a:pt x="79" y="204"/>
                  </a:cubicBezTo>
                  <a:lnTo>
                    <a:pt x="111" y="85"/>
                  </a:lnTo>
                  <a:cubicBezTo>
                    <a:pt x="113" y="78"/>
                    <a:pt x="119" y="74"/>
                    <a:pt x="126" y="74"/>
                  </a:cubicBezTo>
                  <a:lnTo>
                    <a:pt x="374" y="74"/>
                  </a:lnTo>
                  <a:cubicBezTo>
                    <a:pt x="381" y="74"/>
                    <a:pt x="387" y="78"/>
                    <a:pt x="389" y="85"/>
                  </a:cubicBezTo>
                  <a:lnTo>
                    <a:pt x="421" y="204"/>
                  </a:lnTo>
                  <a:cubicBezTo>
                    <a:pt x="423" y="210"/>
                    <a:pt x="419" y="216"/>
                    <a:pt x="418" y="218"/>
                  </a:cubicBezTo>
                  <a:close/>
                  <a:moveTo>
                    <a:pt x="461" y="67"/>
                  </a:moveTo>
                  <a:lnTo>
                    <a:pt x="461" y="67"/>
                  </a:lnTo>
                  <a:cubicBezTo>
                    <a:pt x="449" y="27"/>
                    <a:pt x="414" y="0"/>
                    <a:pt x="374" y="0"/>
                  </a:cubicBezTo>
                  <a:lnTo>
                    <a:pt x="126" y="0"/>
                  </a:lnTo>
                  <a:cubicBezTo>
                    <a:pt x="86" y="0"/>
                    <a:pt x="51" y="27"/>
                    <a:pt x="40" y="67"/>
                  </a:cubicBezTo>
                  <a:lnTo>
                    <a:pt x="8" y="185"/>
                  </a:lnTo>
                  <a:cubicBezTo>
                    <a:pt x="0" y="211"/>
                    <a:pt x="6" y="240"/>
                    <a:pt x="23" y="263"/>
                  </a:cubicBezTo>
                  <a:cubicBezTo>
                    <a:pt x="40" y="285"/>
                    <a:pt x="65" y="297"/>
                    <a:pt x="94" y="297"/>
                  </a:cubicBezTo>
                  <a:lnTo>
                    <a:pt x="406" y="297"/>
                  </a:lnTo>
                  <a:cubicBezTo>
                    <a:pt x="434" y="297"/>
                    <a:pt x="459" y="285"/>
                    <a:pt x="477" y="263"/>
                  </a:cubicBezTo>
                  <a:cubicBezTo>
                    <a:pt x="495" y="240"/>
                    <a:pt x="500" y="211"/>
                    <a:pt x="492" y="185"/>
                  </a:cubicBezTo>
                  <a:lnTo>
                    <a:pt x="461" y="6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BE4A7B7D-F914-BE16-3B50-01AFDB4881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47236" y="2704864"/>
              <a:ext cx="205890" cy="209632"/>
            </a:xfrm>
            <a:custGeom>
              <a:avLst/>
              <a:gdLst>
                <a:gd name="T0" fmla="*/ 26480 w 244"/>
                <a:gd name="T1" fmla="*/ 29276 h 249"/>
                <a:gd name="T2" fmla="*/ 26480 w 244"/>
                <a:gd name="T3" fmla="*/ 29276 h 249"/>
                <a:gd name="T4" fmla="*/ 29343 w 244"/>
                <a:gd name="T5" fmla="*/ 26777 h 249"/>
                <a:gd name="T6" fmla="*/ 57612 w 244"/>
                <a:gd name="T7" fmla="*/ 26777 h 249"/>
                <a:gd name="T8" fmla="*/ 57612 w 244"/>
                <a:gd name="T9" fmla="*/ 26777 h 249"/>
                <a:gd name="T10" fmla="*/ 60475 w 244"/>
                <a:gd name="T11" fmla="*/ 29276 h 249"/>
                <a:gd name="T12" fmla="*/ 60475 w 244"/>
                <a:gd name="T13" fmla="*/ 58910 h 249"/>
                <a:gd name="T14" fmla="*/ 60475 w 244"/>
                <a:gd name="T15" fmla="*/ 58910 h 249"/>
                <a:gd name="T16" fmla="*/ 57612 w 244"/>
                <a:gd name="T17" fmla="*/ 62123 h 249"/>
                <a:gd name="T18" fmla="*/ 29343 w 244"/>
                <a:gd name="T19" fmla="*/ 62123 h 249"/>
                <a:gd name="T20" fmla="*/ 29343 w 244"/>
                <a:gd name="T21" fmla="*/ 62123 h 249"/>
                <a:gd name="T22" fmla="*/ 26480 w 244"/>
                <a:gd name="T23" fmla="*/ 58910 h 249"/>
                <a:gd name="T24" fmla="*/ 26480 w 244"/>
                <a:gd name="T25" fmla="*/ 29276 h 249"/>
                <a:gd name="T26" fmla="*/ 29343 w 244"/>
                <a:gd name="T27" fmla="*/ 88543 h 249"/>
                <a:gd name="T28" fmla="*/ 57612 w 244"/>
                <a:gd name="T29" fmla="*/ 88543 h 249"/>
                <a:gd name="T30" fmla="*/ 57612 w 244"/>
                <a:gd name="T31" fmla="*/ 88543 h 249"/>
                <a:gd name="T32" fmla="*/ 86955 w 244"/>
                <a:gd name="T33" fmla="*/ 58910 h 249"/>
                <a:gd name="T34" fmla="*/ 86955 w 244"/>
                <a:gd name="T35" fmla="*/ 29276 h 249"/>
                <a:gd name="T36" fmla="*/ 86955 w 244"/>
                <a:gd name="T37" fmla="*/ 29276 h 249"/>
                <a:gd name="T38" fmla="*/ 57612 w 244"/>
                <a:gd name="T39" fmla="*/ 0 h 249"/>
                <a:gd name="T40" fmla="*/ 29343 w 244"/>
                <a:gd name="T41" fmla="*/ 0 h 249"/>
                <a:gd name="T42" fmla="*/ 29343 w 244"/>
                <a:gd name="T43" fmla="*/ 0 h 249"/>
                <a:gd name="T44" fmla="*/ 0 w 244"/>
                <a:gd name="T45" fmla="*/ 29276 h 249"/>
                <a:gd name="T46" fmla="*/ 0 w 244"/>
                <a:gd name="T47" fmla="*/ 58910 h 249"/>
                <a:gd name="T48" fmla="*/ 0 w 244"/>
                <a:gd name="T49" fmla="*/ 58910 h 249"/>
                <a:gd name="T50" fmla="*/ 29343 w 244"/>
                <a:gd name="T51" fmla="*/ 88543 h 2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4" h="249">
                  <a:moveTo>
                    <a:pt x="74" y="82"/>
                  </a:moveTo>
                  <a:lnTo>
                    <a:pt x="74" y="82"/>
                  </a:lnTo>
                  <a:cubicBezTo>
                    <a:pt x="74" y="77"/>
                    <a:pt x="77" y="75"/>
                    <a:pt x="82" y="75"/>
                  </a:cubicBezTo>
                  <a:lnTo>
                    <a:pt x="161" y="75"/>
                  </a:lnTo>
                  <a:cubicBezTo>
                    <a:pt x="165" y="75"/>
                    <a:pt x="169" y="77"/>
                    <a:pt x="169" y="82"/>
                  </a:cubicBezTo>
                  <a:lnTo>
                    <a:pt x="169" y="165"/>
                  </a:lnTo>
                  <a:cubicBezTo>
                    <a:pt x="169" y="170"/>
                    <a:pt x="165" y="174"/>
                    <a:pt x="161" y="174"/>
                  </a:cubicBezTo>
                  <a:lnTo>
                    <a:pt x="82" y="174"/>
                  </a:lnTo>
                  <a:cubicBezTo>
                    <a:pt x="77" y="174"/>
                    <a:pt x="74" y="170"/>
                    <a:pt x="74" y="165"/>
                  </a:cubicBezTo>
                  <a:lnTo>
                    <a:pt x="74" y="82"/>
                  </a:lnTo>
                  <a:close/>
                  <a:moveTo>
                    <a:pt x="82" y="248"/>
                  </a:moveTo>
                  <a:lnTo>
                    <a:pt x="161" y="248"/>
                  </a:lnTo>
                  <a:cubicBezTo>
                    <a:pt x="206" y="248"/>
                    <a:pt x="243" y="211"/>
                    <a:pt x="243" y="165"/>
                  </a:cubicBezTo>
                  <a:lnTo>
                    <a:pt x="243" y="82"/>
                  </a:lnTo>
                  <a:cubicBezTo>
                    <a:pt x="243" y="37"/>
                    <a:pt x="206" y="0"/>
                    <a:pt x="161" y="0"/>
                  </a:cubicBezTo>
                  <a:lnTo>
                    <a:pt x="82" y="0"/>
                  </a:lnTo>
                  <a:cubicBezTo>
                    <a:pt x="37" y="0"/>
                    <a:pt x="0" y="37"/>
                    <a:pt x="0" y="82"/>
                  </a:cubicBezTo>
                  <a:lnTo>
                    <a:pt x="0" y="165"/>
                  </a:lnTo>
                  <a:cubicBezTo>
                    <a:pt x="0" y="211"/>
                    <a:pt x="37" y="248"/>
                    <a:pt x="82" y="24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E6954B39-2A04-55B7-CF44-86E78DC53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83598" y="2936957"/>
              <a:ext cx="325677" cy="202145"/>
            </a:xfrm>
            <a:custGeom>
              <a:avLst/>
              <a:gdLst>
                <a:gd name="T0" fmla="*/ 109698 w 384"/>
                <a:gd name="T1" fmla="*/ 58711 h 238"/>
                <a:gd name="T2" fmla="*/ 28054 w 384"/>
                <a:gd name="T3" fmla="*/ 58711 h 238"/>
                <a:gd name="T4" fmla="*/ 28054 w 384"/>
                <a:gd name="T5" fmla="*/ 58711 h 238"/>
                <a:gd name="T6" fmla="*/ 28054 w 384"/>
                <a:gd name="T7" fmla="*/ 57990 h 238"/>
                <a:gd name="T8" fmla="*/ 36686 w 384"/>
                <a:gd name="T9" fmla="*/ 27014 h 238"/>
                <a:gd name="T10" fmla="*/ 36686 w 384"/>
                <a:gd name="T11" fmla="*/ 27014 h 238"/>
                <a:gd name="T12" fmla="*/ 36686 w 384"/>
                <a:gd name="T13" fmla="*/ 27014 h 238"/>
                <a:gd name="T14" fmla="*/ 101786 w 384"/>
                <a:gd name="T15" fmla="*/ 27014 h 238"/>
                <a:gd name="T16" fmla="*/ 101786 w 384"/>
                <a:gd name="T17" fmla="*/ 27014 h 238"/>
                <a:gd name="T18" fmla="*/ 101786 w 384"/>
                <a:gd name="T19" fmla="*/ 27014 h 238"/>
                <a:gd name="T20" fmla="*/ 110058 w 384"/>
                <a:gd name="T21" fmla="*/ 57990 h 238"/>
                <a:gd name="T22" fmla="*/ 110058 w 384"/>
                <a:gd name="T23" fmla="*/ 57990 h 238"/>
                <a:gd name="T24" fmla="*/ 109698 w 384"/>
                <a:gd name="T25" fmla="*/ 58711 h 238"/>
                <a:gd name="T26" fmla="*/ 127322 w 384"/>
                <a:gd name="T27" fmla="*/ 20171 h 238"/>
                <a:gd name="T28" fmla="*/ 127322 w 384"/>
                <a:gd name="T29" fmla="*/ 20171 h 238"/>
                <a:gd name="T30" fmla="*/ 101786 w 384"/>
                <a:gd name="T31" fmla="*/ 0 h 238"/>
                <a:gd name="T32" fmla="*/ 36686 w 384"/>
                <a:gd name="T33" fmla="*/ 0 h 238"/>
                <a:gd name="T34" fmla="*/ 36686 w 384"/>
                <a:gd name="T35" fmla="*/ 0 h 238"/>
                <a:gd name="T36" fmla="*/ 10430 w 384"/>
                <a:gd name="T37" fmla="*/ 20171 h 238"/>
                <a:gd name="T38" fmla="*/ 2518 w 384"/>
                <a:gd name="T39" fmla="*/ 51147 h 238"/>
                <a:gd name="T40" fmla="*/ 2518 w 384"/>
                <a:gd name="T41" fmla="*/ 51147 h 238"/>
                <a:gd name="T42" fmla="*/ 6834 w 384"/>
                <a:gd name="T43" fmla="*/ 74559 h 238"/>
                <a:gd name="T44" fmla="*/ 6834 w 384"/>
                <a:gd name="T45" fmla="*/ 74559 h 238"/>
                <a:gd name="T46" fmla="*/ 28773 w 384"/>
                <a:gd name="T47" fmla="*/ 85365 h 238"/>
                <a:gd name="T48" fmla="*/ 109698 w 384"/>
                <a:gd name="T49" fmla="*/ 85365 h 238"/>
                <a:gd name="T50" fmla="*/ 109698 w 384"/>
                <a:gd name="T51" fmla="*/ 85365 h 238"/>
                <a:gd name="T52" fmla="*/ 131638 w 384"/>
                <a:gd name="T53" fmla="*/ 74559 h 238"/>
                <a:gd name="T54" fmla="*/ 131638 w 384"/>
                <a:gd name="T55" fmla="*/ 74559 h 238"/>
                <a:gd name="T56" fmla="*/ 135954 w 384"/>
                <a:gd name="T57" fmla="*/ 51147 h 238"/>
                <a:gd name="T58" fmla="*/ 127322 w 384"/>
                <a:gd name="T59" fmla="*/ 20171 h 2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84" h="238">
                  <a:moveTo>
                    <a:pt x="305" y="163"/>
                  </a:moveTo>
                  <a:lnTo>
                    <a:pt x="78" y="163"/>
                  </a:lnTo>
                  <a:cubicBezTo>
                    <a:pt x="78" y="163"/>
                    <a:pt x="78" y="163"/>
                    <a:pt x="78" y="161"/>
                  </a:cubicBezTo>
                  <a:lnTo>
                    <a:pt x="102" y="75"/>
                  </a:lnTo>
                  <a:lnTo>
                    <a:pt x="283" y="75"/>
                  </a:lnTo>
                  <a:lnTo>
                    <a:pt x="306" y="161"/>
                  </a:lnTo>
                  <a:cubicBezTo>
                    <a:pt x="306" y="163"/>
                    <a:pt x="305" y="163"/>
                    <a:pt x="305" y="163"/>
                  </a:cubicBezTo>
                  <a:close/>
                  <a:moveTo>
                    <a:pt x="354" y="56"/>
                  </a:moveTo>
                  <a:lnTo>
                    <a:pt x="354" y="56"/>
                  </a:lnTo>
                  <a:cubicBezTo>
                    <a:pt x="345" y="23"/>
                    <a:pt x="316" y="0"/>
                    <a:pt x="283" y="0"/>
                  </a:cubicBezTo>
                  <a:lnTo>
                    <a:pt x="102" y="0"/>
                  </a:lnTo>
                  <a:cubicBezTo>
                    <a:pt x="69" y="0"/>
                    <a:pt x="38" y="23"/>
                    <a:pt x="29" y="56"/>
                  </a:cubicBezTo>
                  <a:lnTo>
                    <a:pt x="7" y="142"/>
                  </a:lnTo>
                  <a:cubicBezTo>
                    <a:pt x="0" y="164"/>
                    <a:pt x="6" y="189"/>
                    <a:pt x="19" y="207"/>
                  </a:cubicBezTo>
                  <a:cubicBezTo>
                    <a:pt x="34" y="226"/>
                    <a:pt x="56" y="237"/>
                    <a:pt x="80" y="237"/>
                  </a:cubicBezTo>
                  <a:lnTo>
                    <a:pt x="305" y="237"/>
                  </a:lnTo>
                  <a:cubicBezTo>
                    <a:pt x="329" y="237"/>
                    <a:pt x="351" y="226"/>
                    <a:pt x="366" y="207"/>
                  </a:cubicBezTo>
                  <a:cubicBezTo>
                    <a:pt x="379" y="189"/>
                    <a:pt x="383" y="164"/>
                    <a:pt x="378" y="142"/>
                  </a:cubicBezTo>
                  <a:lnTo>
                    <a:pt x="354" y="5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C50DB54-A914-1B6F-7BE9-6697A245E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99667" y="2704864"/>
              <a:ext cx="209632" cy="209632"/>
            </a:xfrm>
            <a:custGeom>
              <a:avLst/>
              <a:gdLst>
                <a:gd name="T0" fmla="*/ 61686 w 245"/>
                <a:gd name="T1" fmla="*/ 29276 h 249"/>
                <a:gd name="T2" fmla="*/ 61686 w 245"/>
                <a:gd name="T3" fmla="*/ 58910 h 249"/>
                <a:gd name="T4" fmla="*/ 61686 w 245"/>
                <a:gd name="T5" fmla="*/ 58910 h 249"/>
                <a:gd name="T6" fmla="*/ 58420 w 245"/>
                <a:gd name="T7" fmla="*/ 62123 h 249"/>
                <a:gd name="T8" fmla="*/ 30117 w 245"/>
                <a:gd name="T9" fmla="*/ 62123 h 249"/>
                <a:gd name="T10" fmla="*/ 30117 w 245"/>
                <a:gd name="T11" fmla="*/ 62123 h 249"/>
                <a:gd name="T12" fmla="*/ 27214 w 245"/>
                <a:gd name="T13" fmla="*/ 58910 h 249"/>
                <a:gd name="T14" fmla="*/ 27214 w 245"/>
                <a:gd name="T15" fmla="*/ 29276 h 249"/>
                <a:gd name="T16" fmla="*/ 27214 w 245"/>
                <a:gd name="T17" fmla="*/ 29276 h 249"/>
                <a:gd name="T18" fmla="*/ 30117 w 245"/>
                <a:gd name="T19" fmla="*/ 26777 h 249"/>
                <a:gd name="T20" fmla="*/ 58420 w 245"/>
                <a:gd name="T21" fmla="*/ 26777 h 249"/>
                <a:gd name="T22" fmla="*/ 58420 w 245"/>
                <a:gd name="T23" fmla="*/ 26777 h 249"/>
                <a:gd name="T24" fmla="*/ 61686 w 245"/>
                <a:gd name="T25" fmla="*/ 29276 h 249"/>
                <a:gd name="T26" fmla="*/ 0 w 245"/>
                <a:gd name="T27" fmla="*/ 29276 h 249"/>
                <a:gd name="T28" fmla="*/ 0 w 245"/>
                <a:gd name="T29" fmla="*/ 58910 h 249"/>
                <a:gd name="T30" fmla="*/ 0 w 245"/>
                <a:gd name="T31" fmla="*/ 58910 h 249"/>
                <a:gd name="T32" fmla="*/ 30117 w 245"/>
                <a:gd name="T33" fmla="*/ 88543 h 249"/>
                <a:gd name="T34" fmla="*/ 58420 w 245"/>
                <a:gd name="T35" fmla="*/ 88543 h 249"/>
                <a:gd name="T36" fmla="*/ 58420 w 245"/>
                <a:gd name="T37" fmla="*/ 88543 h 249"/>
                <a:gd name="T38" fmla="*/ 88537 w 245"/>
                <a:gd name="T39" fmla="*/ 58910 h 249"/>
                <a:gd name="T40" fmla="*/ 88537 w 245"/>
                <a:gd name="T41" fmla="*/ 29276 h 249"/>
                <a:gd name="T42" fmla="*/ 88537 w 245"/>
                <a:gd name="T43" fmla="*/ 29276 h 249"/>
                <a:gd name="T44" fmla="*/ 58420 w 245"/>
                <a:gd name="T45" fmla="*/ 0 h 249"/>
                <a:gd name="T46" fmla="*/ 30117 w 245"/>
                <a:gd name="T47" fmla="*/ 0 h 249"/>
                <a:gd name="T48" fmla="*/ 30117 w 245"/>
                <a:gd name="T49" fmla="*/ 0 h 249"/>
                <a:gd name="T50" fmla="*/ 0 w 245"/>
                <a:gd name="T51" fmla="*/ 29276 h 2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5" h="249">
                  <a:moveTo>
                    <a:pt x="170" y="82"/>
                  </a:moveTo>
                  <a:lnTo>
                    <a:pt x="170" y="165"/>
                  </a:lnTo>
                  <a:cubicBezTo>
                    <a:pt x="170" y="170"/>
                    <a:pt x="166" y="174"/>
                    <a:pt x="161" y="174"/>
                  </a:cubicBezTo>
                  <a:lnTo>
                    <a:pt x="83" y="174"/>
                  </a:lnTo>
                  <a:cubicBezTo>
                    <a:pt x="79" y="174"/>
                    <a:pt x="75" y="170"/>
                    <a:pt x="75" y="165"/>
                  </a:cubicBezTo>
                  <a:lnTo>
                    <a:pt x="75" y="82"/>
                  </a:lnTo>
                  <a:cubicBezTo>
                    <a:pt x="75" y="77"/>
                    <a:pt x="79" y="75"/>
                    <a:pt x="83" y="75"/>
                  </a:cubicBezTo>
                  <a:lnTo>
                    <a:pt x="161" y="75"/>
                  </a:lnTo>
                  <a:cubicBezTo>
                    <a:pt x="166" y="75"/>
                    <a:pt x="170" y="77"/>
                    <a:pt x="170" y="82"/>
                  </a:cubicBezTo>
                  <a:close/>
                  <a:moveTo>
                    <a:pt x="0" y="82"/>
                  </a:moveTo>
                  <a:lnTo>
                    <a:pt x="0" y="165"/>
                  </a:lnTo>
                  <a:cubicBezTo>
                    <a:pt x="0" y="211"/>
                    <a:pt x="37" y="248"/>
                    <a:pt x="83" y="248"/>
                  </a:cubicBezTo>
                  <a:lnTo>
                    <a:pt x="161" y="248"/>
                  </a:lnTo>
                  <a:cubicBezTo>
                    <a:pt x="207" y="248"/>
                    <a:pt x="244" y="211"/>
                    <a:pt x="244" y="165"/>
                  </a:cubicBezTo>
                  <a:lnTo>
                    <a:pt x="244" y="82"/>
                  </a:lnTo>
                  <a:cubicBezTo>
                    <a:pt x="244" y="37"/>
                    <a:pt x="207" y="0"/>
                    <a:pt x="161" y="0"/>
                  </a:cubicBezTo>
                  <a:lnTo>
                    <a:pt x="83" y="0"/>
                  </a:lnTo>
                  <a:cubicBezTo>
                    <a:pt x="37" y="0"/>
                    <a:pt x="0" y="37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2F9E4866-85FA-53E7-B98D-8584CAE87B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39772" y="2936957"/>
              <a:ext cx="325677" cy="202145"/>
            </a:xfrm>
            <a:custGeom>
              <a:avLst/>
              <a:gdLst>
                <a:gd name="T0" fmla="*/ 109413 w 385"/>
                <a:gd name="T1" fmla="*/ 58711 h 238"/>
                <a:gd name="T2" fmla="*/ 28340 w 385"/>
                <a:gd name="T3" fmla="*/ 58711 h 238"/>
                <a:gd name="T4" fmla="*/ 28340 w 385"/>
                <a:gd name="T5" fmla="*/ 58711 h 238"/>
                <a:gd name="T6" fmla="*/ 28340 w 385"/>
                <a:gd name="T7" fmla="*/ 57990 h 238"/>
                <a:gd name="T8" fmla="*/ 36232 w 385"/>
                <a:gd name="T9" fmla="*/ 27014 h 238"/>
                <a:gd name="T10" fmla="*/ 36232 w 385"/>
                <a:gd name="T11" fmla="*/ 27014 h 238"/>
                <a:gd name="T12" fmla="*/ 36591 w 385"/>
                <a:gd name="T13" fmla="*/ 27014 h 238"/>
                <a:gd name="T14" fmla="*/ 101163 w 385"/>
                <a:gd name="T15" fmla="*/ 27014 h 238"/>
                <a:gd name="T16" fmla="*/ 101163 w 385"/>
                <a:gd name="T17" fmla="*/ 27014 h 238"/>
                <a:gd name="T18" fmla="*/ 101521 w 385"/>
                <a:gd name="T19" fmla="*/ 27014 h 238"/>
                <a:gd name="T20" fmla="*/ 109413 w 385"/>
                <a:gd name="T21" fmla="*/ 57990 h 238"/>
                <a:gd name="T22" fmla="*/ 109413 w 385"/>
                <a:gd name="T23" fmla="*/ 57990 h 238"/>
                <a:gd name="T24" fmla="*/ 109413 w 385"/>
                <a:gd name="T25" fmla="*/ 58711 h 238"/>
                <a:gd name="T26" fmla="*/ 135601 w 385"/>
                <a:gd name="T27" fmla="*/ 51147 h 238"/>
                <a:gd name="T28" fmla="*/ 126991 w 385"/>
                <a:gd name="T29" fmla="*/ 20171 h 238"/>
                <a:gd name="T30" fmla="*/ 126991 w 385"/>
                <a:gd name="T31" fmla="*/ 20171 h 238"/>
                <a:gd name="T32" fmla="*/ 101163 w 385"/>
                <a:gd name="T33" fmla="*/ 0 h 238"/>
                <a:gd name="T34" fmla="*/ 36591 w 385"/>
                <a:gd name="T35" fmla="*/ 0 h 238"/>
                <a:gd name="T36" fmla="*/ 36591 w 385"/>
                <a:gd name="T37" fmla="*/ 0 h 238"/>
                <a:gd name="T38" fmla="*/ 10762 w 385"/>
                <a:gd name="T39" fmla="*/ 20171 h 238"/>
                <a:gd name="T40" fmla="*/ 2511 w 385"/>
                <a:gd name="T41" fmla="*/ 51147 h 238"/>
                <a:gd name="T42" fmla="*/ 2511 w 385"/>
                <a:gd name="T43" fmla="*/ 51147 h 238"/>
                <a:gd name="T44" fmla="*/ 7175 w 385"/>
                <a:gd name="T45" fmla="*/ 74559 h 238"/>
                <a:gd name="T46" fmla="*/ 7175 w 385"/>
                <a:gd name="T47" fmla="*/ 74559 h 238"/>
                <a:gd name="T48" fmla="*/ 28340 w 385"/>
                <a:gd name="T49" fmla="*/ 85365 h 238"/>
                <a:gd name="T50" fmla="*/ 109413 w 385"/>
                <a:gd name="T51" fmla="*/ 85365 h 238"/>
                <a:gd name="T52" fmla="*/ 109413 w 385"/>
                <a:gd name="T53" fmla="*/ 85365 h 238"/>
                <a:gd name="T54" fmla="*/ 130937 w 385"/>
                <a:gd name="T55" fmla="*/ 74559 h 238"/>
                <a:gd name="T56" fmla="*/ 130937 w 385"/>
                <a:gd name="T57" fmla="*/ 74559 h 238"/>
                <a:gd name="T58" fmla="*/ 135601 w 385"/>
                <a:gd name="T59" fmla="*/ 51147 h 2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85" h="238">
                  <a:moveTo>
                    <a:pt x="305" y="163"/>
                  </a:moveTo>
                  <a:lnTo>
                    <a:pt x="79" y="163"/>
                  </a:lnTo>
                  <a:cubicBezTo>
                    <a:pt x="79" y="163"/>
                    <a:pt x="77" y="163"/>
                    <a:pt x="79" y="161"/>
                  </a:cubicBezTo>
                  <a:lnTo>
                    <a:pt x="101" y="75"/>
                  </a:lnTo>
                  <a:cubicBezTo>
                    <a:pt x="102" y="75"/>
                    <a:pt x="102" y="75"/>
                    <a:pt x="102" y="75"/>
                  </a:cubicBezTo>
                  <a:lnTo>
                    <a:pt x="282" y="75"/>
                  </a:lnTo>
                  <a:lnTo>
                    <a:pt x="283" y="75"/>
                  </a:lnTo>
                  <a:lnTo>
                    <a:pt x="305" y="161"/>
                  </a:lnTo>
                  <a:cubicBezTo>
                    <a:pt x="307" y="163"/>
                    <a:pt x="305" y="163"/>
                    <a:pt x="305" y="163"/>
                  </a:cubicBezTo>
                  <a:close/>
                  <a:moveTo>
                    <a:pt x="378" y="142"/>
                  </a:moveTo>
                  <a:lnTo>
                    <a:pt x="354" y="56"/>
                  </a:lnTo>
                  <a:cubicBezTo>
                    <a:pt x="345" y="23"/>
                    <a:pt x="316" y="0"/>
                    <a:pt x="282" y="0"/>
                  </a:cubicBezTo>
                  <a:lnTo>
                    <a:pt x="102" y="0"/>
                  </a:lnTo>
                  <a:cubicBezTo>
                    <a:pt x="68" y="0"/>
                    <a:pt x="39" y="23"/>
                    <a:pt x="30" y="56"/>
                  </a:cubicBezTo>
                  <a:lnTo>
                    <a:pt x="7" y="142"/>
                  </a:lnTo>
                  <a:cubicBezTo>
                    <a:pt x="0" y="164"/>
                    <a:pt x="5" y="189"/>
                    <a:pt x="20" y="207"/>
                  </a:cubicBezTo>
                  <a:cubicBezTo>
                    <a:pt x="35" y="226"/>
                    <a:pt x="55" y="237"/>
                    <a:pt x="79" y="237"/>
                  </a:cubicBezTo>
                  <a:lnTo>
                    <a:pt x="305" y="237"/>
                  </a:lnTo>
                  <a:cubicBezTo>
                    <a:pt x="329" y="237"/>
                    <a:pt x="350" y="226"/>
                    <a:pt x="365" y="207"/>
                  </a:cubicBezTo>
                  <a:cubicBezTo>
                    <a:pt x="380" y="189"/>
                    <a:pt x="384" y="164"/>
                    <a:pt x="378" y="14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AC997641-57C8-045D-7154-07DB67EE0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44565" y="2386671"/>
              <a:ext cx="763660" cy="288246"/>
            </a:xfrm>
            <a:custGeom>
              <a:avLst/>
              <a:gdLst>
                <a:gd name="T0" fmla="*/ 9366 w 899"/>
                <a:gd name="T1" fmla="*/ 118653 h 341"/>
                <a:gd name="T2" fmla="*/ 9366 w 899"/>
                <a:gd name="T3" fmla="*/ 118653 h 341"/>
                <a:gd name="T4" fmla="*/ 27018 w 899"/>
                <a:gd name="T5" fmla="*/ 112201 h 341"/>
                <a:gd name="T6" fmla="*/ 27018 w 899"/>
                <a:gd name="T7" fmla="*/ 112201 h 341"/>
                <a:gd name="T8" fmla="*/ 80692 w 899"/>
                <a:gd name="T9" fmla="*/ 50186 h 341"/>
                <a:gd name="T10" fmla="*/ 80692 w 899"/>
                <a:gd name="T11" fmla="*/ 50186 h 341"/>
                <a:gd name="T12" fmla="*/ 162105 w 899"/>
                <a:gd name="T13" fmla="*/ 26527 h 341"/>
                <a:gd name="T14" fmla="*/ 162105 w 899"/>
                <a:gd name="T15" fmla="*/ 26527 h 341"/>
                <a:gd name="T16" fmla="*/ 242797 w 899"/>
                <a:gd name="T17" fmla="*/ 50186 h 341"/>
                <a:gd name="T18" fmla="*/ 242797 w 899"/>
                <a:gd name="T19" fmla="*/ 50186 h 341"/>
                <a:gd name="T20" fmla="*/ 295752 w 899"/>
                <a:gd name="T21" fmla="*/ 111125 h 341"/>
                <a:gd name="T22" fmla="*/ 295752 w 899"/>
                <a:gd name="T23" fmla="*/ 111125 h 341"/>
                <a:gd name="T24" fmla="*/ 314124 w 899"/>
                <a:gd name="T25" fmla="*/ 117936 h 341"/>
                <a:gd name="T26" fmla="*/ 314124 w 899"/>
                <a:gd name="T27" fmla="*/ 117936 h 341"/>
                <a:gd name="T28" fmla="*/ 320608 w 899"/>
                <a:gd name="T29" fmla="*/ 99654 h 341"/>
                <a:gd name="T30" fmla="*/ 320608 w 899"/>
                <a:gd name="T31" fmla="*/ 99654 h 341"/>
                <a:gd name="T32" fmla="*/ 256847 w 899"/>
                <a:gd name="T33" fmla="*/ 27961 h 341"/>
                <a:gd name="T34" fmla="*/ 256847 w 899"/>
                <a:gd name="T35" fmla="*/ 27961 h 341"/>
                <a:gd name="T36" fmla="*/ 162105 w 899"/>
                <a:gd name="T37" fmla="*/ 0 h 341"/>
                <a:gd name="T38" fmla="*/ 162105 w 899"/>
                <a:gd name="T39" fmla="*/ 0 h 341"/>
                <a:gd name="T40" fmla="*/ 65923 w 899"/>
                <a:gd name="T41" fmla="*/ 27961 h 341"/>
                <a:gd name="T42" fmla="*/ 65923 w 899"/>
                <a:gd name="T43" fmla="*/ 27961 h 341"/>
                <a:gd name="T44" fmla="*/ 2522 w 899"/>
                <a:gd name="T45" fmla="*/ 101088 h 341"/>
                <a:gd name="T46" fmla="*/ 2522 w 899"/>
                <a:gd name="T47" fmla="*/ 101088 h 341"/>
                <a:gd name="T48" fmla="*/ 9366 w 899"/>
                <a:gd name="T49" fmla="*/ 118653 h 3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99" h="341">
                  <a:moveTo>
                    <a:pt x="26" y="331"/>
                  </a:moveTo>
                  <a:lnTo>
                    <a:pt x="26" y="331"/>
                  </a:lnTo>
                  <a:cubicBezTo>
                    <a:pt x="45" y="340"/>
                    <a:pt x="69" y="326"/>
                    <a:pt x="75" y="313"/>
                  </a:cubicBezTo>
                  <a:cubicBezTo>
                    <a:pt x="108" y="242"/>
                    <a:pt x="159" y="183"/>
                    <a:pt x="224" y="140"/>
                  </a:cubicBezTo>
                  <a:cubicBezTo>
                    <a:pt x="292" y="97"/>
                    <a:pt x="369" y="74"/>
                    <a:pt x="450" y="74"/>
                  </a:cubicBezTo>
                  <a:cubicBezTo>
                    <a:pt x="528" y="74"/>
                    <a:pt x="606" y="97"/>
                    <a:pt x="674" y="140"/>
                  </a:cubicBezTo>
                  <a:cubicBezTo>
                    <a:pt x="737" y="182"/>
                    <a:pt x="789" y="241"/>
                    <a:pt x="821" y="310"/>
                  </a:cubicBezTo>
                  <a:cubicBezTo>
                    <a:pt x="830" y="329"/>
                    <a:pt x="853" y="337"/>
                    <a:pt x="872" y="329"/>
                  </a:cubicBezTo>
                  <a:cubicBezTo>
                    <a:pt x="890" y="319"/>
                    <a:pt x="898" y="297"/>
                    <a:pt x="890" y="278"/>
                  </a:cubicBezTo>
                  <a:cubicBezTo>
                    <a:pt x="851" y="196"/>
                    <a:pt x="789" y="127"/>
                    <a:pt x="713" y="78"/>
                  </a:cubicBezTo>
                  <a:cubicBezTo>
                    <a:pt x="635" y="26"/>
                    <a:pt x="543" y="0"/>
                    <a:pt x="450" y="0"/>
                  </a:cubicBezTo>
                  <a:cubicBezTo>
                    <a:pt x="355" y="0"/>
                    <a:pt x="263" y="28"/>
                    <a:pt x="183" y="78"/>
                  </a:cubicBezTo>
                  <a:cubicBezTo>
                    <a:pt x="106" y="128"/>
                    <a:pt x="45" y="199"/>
                    <a:pt x="7" y="282"/>
                  </a:cubicBezTo>
                  <a:cubicBezTo>
                    <a:pt x="0" y="300"/>
                    <a:pt x="7" y="322"/>
                    <a:pt x="26" y="33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1BD1512-B8A1-8CF3-B796-CAA41791D968}"/>
              </a:ext>
            </a:extLst>
          </p:cNvPr>
          <p:cNvGrpSpPr/>
          <p:nvPr/>
        </p:nvGrpSpPr>
        <p:grpSpPr>
          <a:xfrm>
            <a:off x="5876363" y="2949388"/>
            <a:ext cx="444346" cy="447431"/>
            <a:chOff x="5231890" y="4370690"/>
            <a:chExt cx="1078109" cy="1085596"/>
          </a:xfrm>
          <a:solidFill>
            <a:schemeClr val="bg1"/>
          </a:solidFill>
        </p:grpSpPr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69C3FF9F-AF5B-09C8-78D4-B136DC5B2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1890" y="4378177"/>
              <a:ext cx="1078109" cy="1078109"/>
            </a:xfrm>
            <a:custGeom>
              <a:avLst/>
              <a:gdLst>
                <a:gd name="T0" fmla="*/ 443509 w 1269"/>
                <a:gd name="T1" fmla="*/ 430157 h 1268"/>
                <a:gd name="T2" fmla="*/ 46477 w 1269"/>
                <a:gd name="T3" fmla="*/ 430157 h 1268"/>
                <a:gd name="T4" fmla="*/ 46477 w 1269"/>
                <a:gd name="T5" fmla="*/ 430157 h 1268"/>
                <a:gd name="T6" fmla="*/ 26661 w 1269"/>
                <a:gd name="T7" fmla="*/ 410326 h 1268"/>
                <a:gd name="T8" fmla="*/ 26661 w 1269"/>
                <a:gd name="T9" fmla="*/ 12980 h 1268"/>
                <a:gd name="T10" fmla="*/ 26661 w 1269"/>
                <a:gd name="T11" fmla="*/ 12980 h 1268"/>
                <a:gd name="T12" fmla="*/ 13330 w 1269"/>
                <a:gd name="T13" fmla="*/ 0 h 1268"/>
                <a:gd name="T14" fmla="*/ 13330 w 1269"/>
                <a:gd name="T15" fmla="*/ 0 h 1268"/>
                <a:gd name="T16" fmla="*/ 0 w 1269"/>
                <a:gd name="T17" fmla="*/ 12980 h 1268"/>
                <a:gd name="T18" fmla="*/ 0 w 1269"/>
                <a:gd name="T19" fmla="*/ 410326 h 1268"/>
                <a:gd name="T20" fmla="*/ 0 w 1269"/>
                <a:gd name="T21" fmla="*/ 410326 h 1268"/>
                <a:gd name="T22" fmla="*/ 46477 w 1269"/>
                <a:gd name="T23" fmla="*/ 456839 h 1268"/>
                <a:gd name="T24" fmla="*/ 443509 w 1269"/>
                <a:gd name="T25" fmla="*/ 456839 h 1268"/>
                <a:gd name="T26" fmla="*/ 443509 w 1269"/>
                <a:gd name="T27" fmla="*/ 456839 h 1268"/>
                <a:gd name="T28" fmla="*/ 456840 w 1269"/>
                <a:gd name="T29" fmla="*/ 443498 h 1268"/>
                <a:gd name="T30" fmla="*/ 456840 w 1269"/>
                <a:gd name="T31" fmla="*/ 443498 h 1268"/>
                <a:gd name="T32" fmla="*/ 443509 w 1269"/>
                <a:gd name="T33" fmla="*/ 430157 h 12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69" h="1268">
                  <a:moveTo>
                    <a:pt x="1231" y="1193"/>
                  </a:moveTo>
                  <a:lnTo>
                    <a:pt x="129" y="1193"/>
                  </a:lnTo>
                  <a:cubicBezTo>
                    <a:pt x="99" y="1193"/>
                    <a:pt x="74" y="1168"/>
                    <a:pt x="74" y="1138"/>
                  </a:cubicBezTo>
                  <a:lnTo>
                    <a:pt x="74" y="36"/>
                  </a:lnTo>
                  <a:cubicBezTo>
                    <a:pt x="74" y="16"/>
                    <a:pt x="58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lnTo>
                    <a:pt x="0" y="1138"/>
                  </a:lnTo>
                  <a:cubicBezTo>
                    <a:pt x="0" y="1209"/>
                    <a:pt x="58" y="1267"/>
                    <a:pt x="129" y="1267"/>
                  </a:cubicBezTo>
                  <a:lnTo>
                    <a:pt x="1231" y="1267"/>
                  </a:lnTo>
                  <a:cubicBezTo>
                    <a:pt x="1250" y="1267"/>
                    <a:pt x="1268" y="1251"/>
                    <a:pt x="1268" y="1230"/>
                  </a:cubicBezTo>
                  <a:cubicBezTo>
                    <a:pt x="1268" y="1209"/>
                    <a:pt x="1250" y="1193"/>
                    <a:pt x="1231" y="119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7" name="Freeform 24">
              <a:extLst>
                <a:ext uri="{FF2B5EF4-FFF2-40B4-BE49-F238E27FC236}">
                  <a16:creationId xmlns:a16="http://schemas.microsoft.com/office/drawing/2014/main" id="{B4FAAF9E-6987-B0FC-3B7F-08B25836FA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7748" y="4748778"/>
              <a:ext cx="63637" cy="576489"/>
            </a:xfrm>
            <a:custGeom>
              <a:avLst/>
              <a:gdLst>
                <a:gd name="T0" fmla="*/ 13314 w 75"/>
                <a:gd name="T1" fmla="*/ 244115 h 679"/>
                <a:gd name="T2" fmla="*/ 13314 w 75"/>
                <a:gd name="T3" fmla="*/ 244115 h 679"/>
                <a:gd name="T4" fmla="*/ 26627 w 75"/>
                <a:gd name="T5" fmla="*/ 230433 h 679"/>
                <a:gd name="T6" fmla="*/ 26627 w 75"/>
                <a:gd name="T7" fmla="*/ 13322 h 679"/>
                <a:gd name="T8" fmla="*/ 26627 w 75"/>
                <a:gd name="T9" fmla="*/ 13322 h 679"/>
                <a:gd name="T10" fmla="*/ 13314 w 75"/>
                <a:gd name="T11" fmla="*/ 0 h 679"/>
                <a:gd name="T12" fmla="*/ 13314 w 75"/>
                <a:gd name="T13" fmla="*/ 0 h 679"/>
                <a:gd name="T14" fmla="*/ 0 w 75"/>
                <a:gd name="T15" fmla="*/ 13322 h 679"/>
                <a:gd name="T16" fmla="*/ 0 w 75"/>
                <a:gd name="T17" fmla="*/ 230433 h 679"/>
                <a:gd name="T18" fmla="*/ 0 w 75"/>
                <a:gd name="T19" fmla="*/ 230433 h 679"/>
                <a:gd name="T20" fmla="*/ 13314 w 75"/>
                <a:gd name="T21" fmla="*/ 244115 h 6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5" h="679">
                  <a:moveTo>
                    <a:pt x="37" y="678"/>
                  </a:moveTo>
                  <a:lnTo>
                    <a:pt x="37" y="678"/>
                  </a:lnTo>
                  <a:cubicBezTo>
                    <a:pt x="58" y="678"/>
                    <a:pt x="74" y="661"/>
                    <a:pt x="74" y="640"/>
                  </a:cubicBezTo>
                  <a:lnTo>
                    <a:pt x="74" y="37"/>
                  </a:lnTo>
                  <a:cubicBezTo>
                    <a:pt x="74" y="16"/>
                    <a:pt x="58" y="0"/>
                    <a:pt x="37" y="0"/>
                  </a:cubicBezTo>
                  <a:cubicBezTo>
                    <a:pt x="16" y="0"/>
                    <a:pt x="0" y="16"/>
                    <a:pt x="0" y="37"/>
                  </a:cubicBezTo>
                  <a:lnTo>
                    <a:pt x="0" y="640"/>
                  </a:lnTo>
                  <a:cubicBezTo>
                    <a:pt x="0" y="661"/>
                    <a:pt x="16" y="678"/>
                    <a:pt x="37" y="67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8" name="Freeform 25">
              <a:extLst>
                <a:ext uri="{FF2B5EF4-FFF2-40B4-BE49-F238E27FC236}">
                  <a16:creationId xmlns:a16="http://schemas.microsoft.com/office/drawing/2014/main" id="{8ECFD237-E6A5-DC5A-7058-CD70D1ED36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1700" y="4861081"/>
              <a:ext cx="63640" cy="464186"/>
            </a:xfrm>
            <a:custGeom>
              <a:avLst/>
              <a:gdLst>
                <a:gd name="T0" fmla="*/ 0 w 76"/>
                <a:gd name="T1" fmla="*/ 13340 h 546"/>
                <a:gd name="T2" fmla="*/ 0 w 76"/>
                <a:gd name="T3" fmla="*/ 183150 h 546"/>
                <a:gd name="T4" fmla="*/ 0 w 76"/>
                <a:gd name="T5" fmla="*/ 183150 h 546"/>
                <a:gd name="T6" fmla="*/ 13494 w 76"/>
                <a:gd name="T7" fmla="*/ 196489 h 546"/>
                <a:gd name="T8" fmla="*/ 13494 w 76"/>
                <a:gd name="T9" fmla="*/ 196489 h 546"/>
                <a:gd name="T10" fmla="*/ 26633 w 76"/>
                <a:gd name="T11" fmla="*/ 183150 h 546"/>
                <a:gd name="T12" fmla="*/ 26633 w 76"/>
                <a:gd name="T13" fmla="*/ 13340 h 546"/>
                <a:gd name="T14" fmla="*/ 26633 w 76"/>
                <a:gd name="T15" fmla="*/ 13340 h 546"/>
                <a:gd name="T16" fmla="*/ 13494 w 76"/>
                <a:gd name="T17" fmla="*/ 0 h 546"/>
                <a:gd name="T18" fmla="*/ 13494 w 76"/>
                <a:gd name="T19" fmla="*/ 0 h 546"/>
                <a:gd name="T20" fmla="*/ 0 w 76"/>
                <a:gd name="T21" fmla="*/ 13340 h 5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6" h="546">
                  <a:moveTo>
                    <a:pt x="0" y="37"/>
                  </a:moveTo>
                  <a:lnTo>
                    <a:pt x="0" y="508"/>
                  </a:lnTo>
                  <a:cubicBezTo>
                    <a:pt x="0" y="528"/>
                    <a:pt x="19" y="545"/>
                    <a:pt x="38" y="545"/>
                  </a:cubicBezTo>
                  <a:cubicBezTo>
                    <a:pt x="59" y="545"/>
                    <a:pt x="75" y="528"/>
                    <a:pt x="75" y="508"/>
                  </a:cubicBezTo>
                  <a:lnTo>
                    <a:pt x="75" y="37"/>
                  </a:lnTo>
                  <a:cubicBezTo>
                    <a:pt x="75" y="17"/>
                    <a:pt x="59" y="0"/>
                    <a:pt x="38" y="0"/>
                  </a:cubicBezTo>
                  <a:cubicBezTo>
                    <a:pt x="19" y="0"/>
                    <a:pt x="0" y="17"/>
                    <a:pt x="0" y="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58598299-6A4C-B5CC-E489-AD4FAAAB56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9397" y="5029534"/>
              <a:ext cx="63640" cy="295732"/>
            </a:xfrm>
            <a:custGeom>
              <a:avLst/>
              <a:gdLst>
                <a:gd name="T0" fmla="*/ 0 w 76"/>
                <a:gd name="T1" fmla="*/ 13373 h 347"/>
                <a:gd name="T2" fmla="*/ 0 w 76"/>
                <a:gd name="T3" fmla="*/ 111679 h 347"/>
                <a:gd name="T4" fmla="*/ 0 w 76"/>
                <a:gd name="T5" fmla="*/ 111679 h 347"/>
                <a:gd name="T6" fmla="*/ 13139 w 76"/>
                <a:gd name="T7" fmla="*/ 125052 h 347"/>
                <a:gd name="T8" fmla="*/ 13139 w 76"/>
                <a:gd name="T9" fmla="*/ 125052 h 347"/>
                <a:gd name="T10" fmla="*/ 26633 w 76"/>
                <a:gd name="T11" fmla="*/ 111679 h 347"/>
                <a:gd name="T12" fmla="*/ 26633 w 76"/>
                <a:gd name="T13" fmla="*/ 13373 h 347"/>
                <a:gd name="T14" fmla="*/ 26633 w 76"/>
                <a:gd name="T15" fmla="*/ 13373 h 347"/>
                <a:gd name="T16" fmla="*/ 13139 w 76"/>
                <a:gd name="T17" fmla="*/ 0 h 347"/>
                <a:gd name="T18" fmla="*/ 13139 w 76"/>
                <a:gd name="T19" fmla="*/ 0 h 347"/>
                <a:gd name="T20" fmla="*/ 0 w 76"/>
                <a:gd name="T21" fmla="*/ 13373 h 3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6" h="347">
                  <a:moveTo>
                    <a:pt x="0" y="37"/>
                  </a:moveTo>
                  <a:lnTo>
                    <a:pt x="0" y="309"/>
                  </a:lnTo>
                  <a:cubicBezTo>
                    <a:pt x="0" y="329"/>
                    <a:pt x="17" y="346"/>
                    <a:pt x="37" y="346"/>
                  </a:cubicBezTo>
                  <a:cubicBezTo>
                    <a:pt x="57" y="346"/>
                    <a:pt x="75" y="329"/>
                    <a:pt x="75" y="309"/>
                  </a:cubicBezTo>
                  <a:lnTo>
                    <a:pt x="75" y="37"/>
                  </a:lnTo>
                  <a:cubicBezTo>
                    <a:pt x="75" y="16"/>
                    <a:pt x="57" y="0"/>
                    <a:pt x="37" y="0"/>
                  </a:cubicBezTo>
                  <a:cubicBezTo>
                    <a:pt x="17" y="0"/>
                    <a:pt x="0" y="16"/>
                    <a:pt x="0" y="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18495C1C-F117-9A35-E9D0-7453CA64A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3352" y="5029534"/>
              <a:ext cx="63637" cy="295732"/>
            </a:xfrm>
            <a:custGeom>
              <a:avLst/>
              <a:gdLst>
                <a:gd name="T0" fmla="*/ 0 w 75"/>
                <a:gd name="T1" fmla="*/ 13373 h 347"/>
                <a:gd name="T2" fmla="*/ 0 w 75"/>
                <a:gd name="T3" fmla="*/ 111679 h 347"/>
                <a:gd name="T4" fmla="*/ 0 w 75"/>
                <a:gd name="T5" fmla="*/ 111679 h 347"/>
                <a:gd name="T6" fmla="*/ 13314 w 75"/>
                <a:gd name="T7" fmla="*/ 125052 h 347"/>
                <a:gd name="T8" fmla="*/ 13314 w 75"/>
                <a:gd name="T9" fmla="*/ 125052 h 347"/>
                <a:gd name="T10" fmla="*/ 26627 w 75"/>
                <a:gd name="T11" fmla="*/ 111679 h 347"/>
                <a:gd name="T12" fmla="*/ 26627 w 75"/>
                <a:gd name="T13" fmla="*/ 13373 h 347"/>
                <a:gd name="T14" fmla="*/ 26627 w 75"/>
                <a:gd name="T15" fmla="*/ 13373 h 347"/>
                <a:gd name="T16" fmla="*/ 13314 w 75"/>
                <a:gd name="T17" fmla="*/ 0 h 347"/>
                <a:gd name="T18" fmla="*/ 13314 w 75"/>
                <a:gd name="T19" fmla="*/ 0 h 347"/>
                <a:gd name="T20" fmla="*/ 0 w 75"/>
                <a:gd name="T21" fmla="*/ 13373 h 3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5" h="347">
                  <a:moveTo>
                    <a:pt x="0" y="37"/>
                  </a:moveTo>
                  <a:lnTo>
                    <a:pt x="0" y="309"/>
                  </a:lnTo>
                  <a:cubicBezTo>
                    <a:pt x="0" y="329"/>
                    <a:pt x="16" y="346"/>
                    <a:pt x="37" y="346"/>
                  </a:cubicBezTo>
                  <a:cubicBezTo>
                    <a:pt x="58" y="346"/>
                    <a:pt x="74" y="329"/>
                    <a:pt x="74" y="309"/>
                  </a:cubicBezTo>
                  <a:lnTo>
                    <a:pt x="74" y="37"/>
                  </a:lnTo>
                  <a:cubicBezTo>
                    <a:pt x="74" y="16"/>
                    <a:pt x="58" y="0"/>
                    <a:pt x="37" y="0"/>
                  </a:cubicBezTo>
                  <a:cubicBezTo>
                    <a:pt x="16" y="0"/>
                    <a:pt x="0" y="16"/>
                    <a:pt x="0" y="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FC45F7EA-8C9F-BC8D-8767-63AC94D05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7305" y="4861081"/>
              <a:ext cx="63640" cy="464186"/>
            </a:xfrm>
            <a:custGeom>
              <a:avLst/>
              <a:gdLst>
                <a:gd name="T0" fmla="*/ 0 w 75"/>
                <a:gd name="T1" fmla="*/ 13340 h 546"/>
                <a:gd name="T2" fmla="*/ 0 w 75"/>
                <a:gd name="T3" fmla="*/ 183150 h 546"/>
                <a:gd name="T4" fmla="*/ 0 w 75"/>
                <a:gd name="T5" fmla="*/ 183150 h 546"/>
                <a:gd name="T6" fmla="*/ 13314 w 75"/>
                <a:gd name="T7" fmla="*/ 196489 h 546"/>
                <a:gd name="T8" fmla="*/ 13314 w 75"/>
                <a:gd name="T9" fmla="*/ 196489 h 546"/>
                <a:gd name="T10" fmla="*/ 26628 w 75"/>
                <a:gd name="T11" fmla="*/ 183150 h 546"/>
                <a:gd name="T12" fmla="*/ 26628 w 75"/>
                <a:gd name="T13" fmla="*/ 13340 h 546"/>
                <a:gd name="T14" fmla="*/ 26628 w 75"/>
                <a:gd name="T15" fmla="*/ 13340 h 546"/>
                <a:gd name="T16" fmla="*/ 13314 w 75"/>
                <a:gd name="T17" fmla="*/ 0 h 546"/>
                <a:gd name="T18" fmla="*/ 13314 w 75"/>
                <a:gd name="T19" fmla="*/ 0 h 546"/>
                <a:gd name="T20" fmla="*/ 0 w 75"/>
                <a:gd name="T21" fmla="*/ 13340 h 5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5" h="546">
                  <a:moveTo>
                    <a:pt x="0" y="37"/>
                  </a:moveTo>
                  <a:lnTo>
                    <a:pt x="0" y="508"/>
                  </a:lnTo>
                  <a:cubicBezTo>
                    <a:pt x="0" y="528"/>
                    <a:pt x="17" y="545"/>
                    <a:pt x="37" y="545"/>
                  </a:cubicBezTo>
                  <a:cubicBezTo>
                    <a:pt x="58" y="545"/>
                    <a:pt x="74" y="528"/>
                    <a:pt x="74" y="508"/>
                  </a:cubicBezTo>
                  <a:lnTo>
                    <a:pt x="74" y="37"/>
                  </a:lnTo>
                  <a:cubicBezTo>
                    <a:pt x="74" y="17"/>
                    <a:pt x="58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F2B5BD79-EF05-D57B-0D68-61D1C17E3D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1259" y="4947179"/>
              <a:ext cx="63637" cy="378088"/>
            </a:xfrm>
            <a:custGeom>
              <a:avLst/>
              <a:gdLst>
                <a:gd name="T0" fmla="*/ 0 w 75"/>
                <a:gd name="T1" fmla="*/ 13272 h 447"/>
                <a:gd name="T2" fmla="*/ 0 w 75"/>
                <a:gd name="T3" fmla="*/ 146707 h 447"/>
                <a:gd name="T4" fmla="*/ 0 w 75"/>
                <a:gd name="T5" fmla="*/ 146707 h 447"/>
                <a:gd name="T6" fmla="*/ 13314 w 75"/>
                <a:gd name="T7" fmla="*/ 159979 h 447"/>
                <a:gd name="T8" fmla="*/ 13314 w 75"/>
                <a:gd name="T9" fmla="*/ 159979 h 447"/>
                <a:gd name="T10" fmla="*/ 26627 w 75"/>
                <a:gd name="T11" fmla="*/ 146707 h 447"/>
                <a:gd name="T12" fmla="*/ 26627 w 75"/>
                <a:gd name="T13" fmla="*/ 13272 h 447"/>
                <a:gd name="T14" fmla="*/ 26627 w 75"/>
                <a:gd name="T15" fmla="*/ 13272 h 447"/>
                <a:gd name="T16" fmla="*/ 13314 w 75"/>
                <a:gd name="T17" fmla="*/ 0 h 447"/>
                <a:gd name="T18" fmla="*/ 13314 w 75"/>
                <a:gd name="T19" fmla="*/ 0 h 447"/>
                <a:gd name="T20" fmla="*/ 0 w 75"/>
                <a:gd name="T21" fmla="*/ 13272 h 4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5" h="447">
                  <a:moveTo>
                    <a:pt x="0" y="37"/>
                  </a:moveTo>
                  <a:lnTo>
                    <a:pt x="0" y="409"/>
                  </a:lnTo>
                  <a:cubicBezTo>
                    <a:pt x="0" y="429"/>
                    <a:pt x="16" y="446"/>
                    <a:pt x="37" y="446"/>
                  </a:cubicBezTo>
                  <a:cubicBezTo>
                    <a:pt x="57" y="446"/>
                    <a:pt x="74" y="429"/>
                    <a:pt x="74" y="409"/>
                  </a:cubicBezTo>
                  <a:lnTo>
                    <a:pt x="74" y="37"/>
                  </a:lnTo>
                  <a:cubicBezTo>
                    <a:pt x="74" y="17"/>
                    <a:pt x="57" y="0"/>
                    <a:pt x="37" y="0"/>
                  </a:cubicBezTo>
                  <a:cubicBezTo>
                    <a:pt x="16" y="0"/>
                    <a:pt x="0" y="17"/>
                    <a:pt x="0" y="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3" name="Freeform 30">
              <a:extLst>
                <a:ext uri="{FF2B5EF4-FFF2-40B4-BE49-F238E27FC236}">
                  <a16:creationId xmlns:a16="http://schemas.microsoft.com/office/drawing/2014/main" id="{19784C6E-C661-E764-4600-7FB6FB821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5212" y="5029534"/>
              <a:ext cx="63640" cy="295732"/>
            </a:xfrm>
            <a:custGeom>
              <a:avLst/>
              <a:gdLst>
                <a:gd name="T0" fmla="*/ 0 w 75"/>
                <a:gd name="T1" fmla="*/ 13373 h 347"/>
                <a:gd name="T2" fmla="*/ 0 w 75"/>
                <a:gd name="T3" fmla="*/ 111679 h 347"/>
                <a:gd name="T4" fmla="*/ 0 w 75"/>
                <a:gd name="T5" fmla="*/ 111679 h 347"/>
                <a:gd name="T6" fmla="*/ 13314 w 75"/>
                <a:gd name="T7" fmla="*/ 125052 h 347"/>
                <a:gd name="T8" fmla="*/ 13314 w 75"/>
                <a:gd name="T9" fmla="*/ 125052 h 347"/>
                <a:gd name="T10" fmla="*/ 26628 w 75"/>
                <a:gd name="T11" fmla="*/ 111679 h 347"/>
                <a:gd name="T12" fmla="*/ 26628 w 75"/>
                <a:gd name="T13" fmla="*/ 13373 h 347"/>
                <a:gd name="T14" fmla="*/ 26628 w 75"/>
                <a:gd name="T15" fmla="*/ 13373 h 347"/>
                <a:gd name="T16" fmla="*/ 13314 w 75"/>
                <a:gd name="T17" fmla="*/ 0 h 347"/>
                <a:gd name="T18" fmla="*/ 13314 w 75"/>
                <a:gd name="T19" fmla="*/ 0 h 347"/>
                <a:gd name="T20" fmla="*/ 0 w 75"/>
                <a:gd name="T21" fmla="*/ 13373 h 3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5" h="347">
                  <a:moveTo>
                    <a:pt x="0" y="37"/>
                  </a:moveTo>
                  <a:lnTo>
                    <a:pt x="0" y="309"/>
                  </a:lnTo>
                  <a:cubicBezTo>
                    <a:pt x="0" y="329"/>
                    <a:pt x="16" y="346"/>
                    <a:pt x="37" y="346"/>
                  </a:cubicBezTo>
                  <a:cubicBezTo>
                    <a:pt x="57" y="346"/>
                    <a:pt x="74" y="329"/>
                    <a:pt x="74" y="309"/>
                  </a:cubicBezTo>
                  <a:lnTo>
                    <a:pt x="74" y="37"/>
                  </a:lnTo>
                  <a:cubicBezTo>
                    <a:pt x="74" y="16"/>
                    <a:pt x="57" y="0"/>
                    <a:pt x="37" y="0"/>
                  </a:cubicBezTo>
                  <a:cubicBezTo>
                    <a:pt x="16" y="0"/>
                    <a:pt x="0" y="16"/>
                    <a:pt x="0" y="3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4" name="Freeform 31">
              <a:extLst>
                <a:ext uri="{FF2B5EF4-FFF2-40B4-BE49-F238E27FC236}">
                  <a16:creationId xmlns:a16="http://schemas.microsoft.com/office/drawing/2014/main" id="{EBA76BC0-D608-A387-BB82-DB9766AA4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166" y="5029534"/>
              <a:ext cx="63637" cy="295732"/>
            </a:xfrm>
            <a:custGeom>
              <a:avLst/>
              <a:gdLst>
                <a:gd name="T0" fmla="*/ 13138 w 76"/>
                <a:gd name="T1" fmla="*/ 125052 h 347"/>
                <a:gd name="T2" fmla="*/ 13138 w 76"/>
                <a:gd name="T3" fmla="*/ 125052 h 347"/>
                <a:gd name="T4" fmla="*/ 26632 w 76"/>
                <a:gd name="T5" fmla="*/ 111318 h 347"/>
                <a:gd name="T6" fmla="*/ 26632 w 76"/>
                <a:gd name="T7" fmla="*/ 13373 h 347"/>
                <a:gd name="T8" fmla="*/ 26632 w 76"/>
                <a:gd name="T9" fmla="*/ 13373 h 347"/>
                <a:gd name="T10" fmla="*/ 13138 w 76"/>
                <a:gd name="T11" fmla="*/ 0 h 347"/>
                <a:gd name="T12" fmla="*/ 13138 w 76"/>
                <a:gd name="T13" fmla="*/ 0 h 347"/>
                <a:gd name="T14" fmla="*/ 0 w 76"/>
                <a:gd name="T15" fmla="*/ 13373 h 347"/>
                <a:gd name="T16" fmla="*/ 0 w 76"/>
                <a:gd name="T17" fmla="*/ 111318 h 347"/>
                <a:gd name="T18" fmla="*/ 0 w 76"/>
                <a:gd name="T19" fmla="*/ 111318 h 347"/>
                <a:gd name="T20" fmla="*/ 13138 w 76"/>
                <a:gd name="T21" fmla="*/ 125052 h 3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6" h="347">
                  <a:moveTo>
                    <a:pt x="37" y="346"/>
                  </a:moveTo>
                  <a:lnTo>
                    <a:pt x="37" y="346"/>
                  </a:lnTo>
                  <a:cubicBezTo>
                    <a:pt x="58" y="346"/>
                    <a:pt x="75" y="329"/>
                    <a:pt x="75" y="308"/>
                  </a:cubicBezTo>
                  <a:lnTo>
                    <a:pt x="75" y="37"/>
                  </a:lnTo>
                  <a:cubicBezTo>
                    <a:pt x="75" y="16"/>
                    <a:pt x="58" y="0"/>
                    <a:pt x="37" y="0"/>
                  </a:cubicBezTo>
                  <a:cubicBezTo>
                    <a:pt x="18" y="0"/>
                    <a:pt x="0" y="16"/>
                    <a:pt x="0" y="37"/>
                  </a:cubicBezTo>
                  <a:lnTo>
                    <a:pt x="0" y="308"/>
                  </a:lnTo>
                  <a:cubicBezTo>
                    <a:pt x="0" y="329"/>
                    <a:pt x="18" y="346"/>
                    <a:pt x="37" y="34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45" name="Freeform 32">
              <a:extLst>
                <a:ext uri="{FF2B5EF4-FFF2-40B4-BE49-F238E27FC236}">
                  <a16:creationId xmlns:a16="http://schemas.microsoft.com/office/drawing/2014/main" id="{9470C119-8381-9ECC-6195-DC6F877153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1522" y="4370690"/>
              <a:ext cx="658844" cy="479159"/>
            </a:xfrm>
            <a:custGeom>
              <a:avLst/>
              <a:gdLst>
                <a:gd name="T0" fmla="*/ 229353 w 776"/>
                <a:gd name="T1" fmla="*/ 117396 h 566"/>
                <a:gd name="T2" fmla="*/ 222872 w 776"/>
                <a:gd name="T3" fmla="*/ 120628 h 566"/>
                <a:gd name="T4" fmla="*/ 220352 w 776"/>
                <a:gd name="T5" fmla="*/ 118114 h 566"/>
                <a:gd name="T6" fmla="*/ 219631 w 776"/>
                <a:gd name="T7" fmla="*/ 114165 h 566"/>
                <a:gd name="T8" fmla="*/ 213871 w 776"/>
                <a:gd name="T9" fmla="*/ 91907 h 566"/>
                <a:gd name="T10" fmla="*/ 190467 w 776"/>
                <a:gd name="T11" fmla="*/ 89753 h 566"/>
                <a:gd name="T12" fmla="*/ 38526 w 776"/>
                <a:gd name="T13" fmla="*/ 175197 h 566"/>
                <a:gd name="T14" fmla="*/ 28804 w 776"/>
                <a:gd name="T15" fmla="*/ 172684 h 566"/>
                <a:gd name="T16" fmla="*/ 27724 w 776"/>
                <a:gd name="T17" fmla="*/ 167658 h 566"/>
                <a:gd name="T18" fmla="*/ 183626 w 776"/>
                <a:gd name="T19" fmla="*/ 77187 h 566"/>
                <a:gd name="T20" fmla="*/ 193708 w 776"/>
                <a:gd name="T21" fmla="*/ 56365 h 566"/>
                <a:gd name="T22" fmla="*/ 177505 w 776"/>
                <a:gd name="T23" fmla="*/ 39491 h 566"/>
                <a:gd name="T24" fmla="*/ 173905 w 776"/>
                <a:gd name="T25" fmla="*/ 36978 h 566"/>
                <a:gd name="T26" fmla="*/ 173185 w 776"/>
                <a:gd name="T27" fmla="*/ 33388 h 566"/>
                <a:gd name="T28" fmla="*/ 173185 w 776"/>
                <a:gd name="T29" fmla="*/ 33388 h 566"/>
                <a:gd name="T30" fmla="*/ 244115 w 776"/>
                <a:gd name="T31" fmla="*/ 44158 h 566"/>
                <a:gd name="T32" fmla="*/ 249516 w 776"/>
                <a:gd name="T33" fmla="*/ 47748 h 566"/>
                <a:gd name="T34" fmla="*/ 249876 w 776"/>
                <a:gd name="T35" fmla="*/ 54211 h 566"/>
                <a:gd name="T36" fmla="*/ 272919 w 776"/>
                <a:gd name="T37" fmla="*/ 35183 h 566"/>
                <a:gd name="T38" fmla="*/ 185066 w 776"/>
                <a:gd name="T39" fmla="*/ 3590 h 566"/>
                <a:gd name="T40" fmla="*/ 147261 w 776"/>
                <a:gd name="T41" fmla="*/ 27644 h 566"/>
                <a:gd name="T42" fmla="*/ 151582 w 776"/>
                <a:gd name="T43" fmla="*/ 51339 h 566"/>
                <a:gd name="T44" fmla="*/ 159503 w 776"/>
                <a:gd name="T45" fmla="*/ 59955 h 566"/>
                <a:gd name="T46" fmla="*/ 18363 w 776"/>
                <a:gd name="T47" fmla="*/ 140014 h 566"/>
                <a:gd name="T48" fmla="*/ 2160 w 776"/>
                <a:gd name="T49" fmla="*/ 160478 h 566"/>
                <a:gd name="T50" fmla="*/ 5401 w 776"/>
                <a:gd name="T51" fmla="*/ 185967 h 566"/>
                <a:gd name="T52" fmla="*/ 25564 w 776"/>
                <a:gd name="T53" fmla="*/ 201764 h 566"/>
                <a:gd name="T54" fmla="*/ 34565 w 776"/>
                <a:gd name="T55" fmla="*/ 202841 h 566"/>
                <a:gd name="T56" fmla="*/ 192988 w 776"/>
                <a:gd name="T57" fmla="*/ 118833 h 566"/>
                <a:gd name="T58" fmla="*/ 196228 w 776"/>
                <a:gd name="T59" fmla="*/ 130321 h 566"/>
                <a:gd name="T60" fmla="*/ 214951 w 776"/>
                <a:gd name="T61" fmla="*/ 146117 h 566"/>
                <a:gd name="T62" fmla="*/ 254916 w 776"/>
                <a:gd name="T63" fmla="*/ 126013 h 566"/>
                <a:gd name="T64" fmla="*/ 275799 w 776"/>
                <a:gd name="T65" fmla="*/ 62827 h 5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76" h="566">
                  <a:moveTo>
                    <a:pt x="694" y="151"/>
                  </a:moveTo>
                  <a:lnTo>
                    <a:pt x="637" y="327"/>
                  </a:lnTo>
                  <a:cubicBezTo>
                    <a:pt x="634" y="334"/>
                    <a:pt x="627" y="339"/>
                    <a:pt x="619" y="336"/>
                  </a:cubicBezTo>
                  <a:cubicBezTo>
                    <a:pt x="615" y="334"/>
                    <a:pt x="612" y="331"/>
                    <a:pt x="612" y="329"/>
                  </a:cubicBezTo>
                  <a:cubicBezTo>
                    <a:pt x="610" y="327"/>
                    <a:pt x="608" y="322"/>
                    <a:pt x="610" y="318"/>
                  </a:cubicBezTo>
                  <a:cubicBezTo>
                    <a:pt x="619" y="294"/>
                    <a:pt x="612" y="271"/>
                    <a:pt x="594" y="256"/>
                  </a:cubicBezTo>
                  <a:cubicBezTo>
                    <a:pt x="575" y="240"/>
                    <a:pt x="550" y="238"/>
                    <a:pt x="529" y="250"/>
                  </a:cubicBezTo>
                  <a:lnTo>
                    <a:pt x="107" y="488"/>
                  </a:lnTo>
                  <a:cubicBezTo>
                    <a:pt x="98" y="495"/>
                    <a:pt x="84" y="492"/>
                    <a:pt x="80" y="481"/>
                  </a:cubicBezTo>
                  <a:cubicBezTo>
                    <a:pt x="77" y="476"/>
                    <a:pt x="76" y="472"/>
                    <a:pt x="77" y="467"/>
                  </a:cubicBezTo>
                  <a:cubicBezTo>
                    <a:pt x="79" y="462"/>
                    <a:pt x="83" y="457"/>
                    <a:pt x="87" y="455"/>
                  </a:cubicBezTo>
                  <a:lnTo>
                    <a:pt x="510" y="215"/>
                  </a:lnTo>
                  <a:cubicBezTo>
                    <a:pt x="530" y="203"/>
                    <a:pt x="542" y="180"/>
                    <a:pt x="538" y="157"/>
                  </a:cubicBezTo>
                  <a:cubicBezTo>
                    <a:pt x="534" y="133"/>
                    <a:pt x="517" y="114"/>
                    <a:pt x="493" y="110"/>
                  </a:cubicBezTo>
                  <a:cubicBezTo>
                    <a:pt x="487" y="110"/>
                    <a:pt x="485" y="105"/>
                    <a:pt x="483" y="103"/>
                  </a:cubicBezTo>
                  <a:cubicBezTo>
                    <a:pt x="483" y="102"/>
                    <a:pt x="480" y="98"/>
                    <a:pt x="481" y="93"/>
                  </a:cubicBezTo>
                  <a:cubicBezTo>
                    <a:pt x="483" y="87"/>
                    <a:pt x="489" y="82"/>
                    <a:pt x="495" y="82"/>
                  </a:cubicBezTo>
                  <a:lnTo>
                    <a:pt x="678" y="123"/>
                  </a:lnTo>
                  <a:cubicBezTo>
                    <a:pt x="687" y="124"/>
                    <a:pt x="692" y="130"/>
                    <a:pt x="693" y="133"/>
                  </a:cubicBezTo>
                  <a:cubicBezTo>
                    <a:pt x="694" y="136"/>
                    <a:pt x="697" y="143"/>
                    <a:pt x="694" y="151"/>
                  </a:cubicBezTo>
                  <a:close/>
                  <a:moveTo>
                    <a:pt x="758" y="98"/>
                  </a:moveTo>
                  <a:lnTo>
                    <a:pt x="758" y="98"/>
                  </a:lnTo>
                  <a:cubicBezTo>
                    <a:pt x="745" y="73"/>
                    <a:pt x="721" y="56"/>
                    <a:pt x="694" y="50"/>
                  </a:cubicBezTo>
                  <a:lnTo>
                    <a:pt x="514" y="10"/>
                  </a:lnTo>
                  <a:cubicBezTo>
                    <a:pt x="466" y="0"/>
                    <a:pt x="421" y="29"/>
                    <a:pt x="409" y="77"/>
                  </a:cubicBezTo>
                  <a:cubicBezTo>
                    <a:pt x="404" y="99"/>
                    <a:pt x="408" y="124"/>
                    <a:pt x="421" y="143"/>
                  </a:cubicBezTo>
                  <a:cubicBezTo>
                    <a:pt x="426" y="152"/>
                    <a:pt x="434" y="161"/>
                    <a:pt x="443" y="167"/>
                  </a:cubicBezTo>
                  <a:lnTo>
                    <a:pt x="51" y="390"/>
                  </a:lnTo>
                  <a:cubicBezTo>
                    <a:pt x="28" y="403"/>
                    <a:pt x="14" y="422"/>
                    <a:pt x="6" y="447"/>
                  </a:cubicBezTo>
                  <a:cubicBezTo>
                    <a:pt x="0" y="471"/>
                    <a:pt x="3" y="496"/>
                    <a:pt x="15" y="518"/>
                  </a:cubicBezTo>
                  <a:cubicBezTo>
                    <a:pt x="27" y="541"/>
                    <a:pt x="47" y="555"/>
                    <a:pt x="71" y="562"/>
                  </a:cubicBezTo>
                  <a:cubicBezTo>
                    <a:pt x="80" y="565"/>
                    <a:pt x="89" y="565"/>
                    <a:pt x="96" y="565"/>
                  </a:cubicBezTo>
                  <a:cubicBezTo>
                    <a:pt x="112" y="565"/>
                    <a:pt x="129" y="562"/>
                    <a:pt x="144" y="554"/>
                  </a:cubicBezTo>
                  <a:lnTo>
                    <a:pt x="536" y="331"/>
                  </a:lnTo>
                  <a:cubicBezTo>
                    <a:pt x="536" y="342"/>
                    <a:pt x="539" y="352"/>
                    <a:pt x="545" y="363"/>
                  </a:cubicBezTo>
                  <a:cubicBezTo>
                    <a:pt x="555" y="383"/>
                    <a:pt x="573" y="399"/>
                    <a:pt x="597" y="407"/>
                  </a:cubicBezTo>
                  <a:cubicBezTo>
                    <a:pt x="643" y="422"/>
                    <a:pt x="692" y="397"/>
                    <a:pt x="708" y="351"/>
                  </a:cubicBezTo>
                  <a:lnTo>
                    <a:pt x="766" y="175"/>
                  </a:lnTo>
                  <a:cubicBezTo>
                    <a:pt x="775" y="150"/>
                    <a:pt x="771" y="121"/>
                    <a:pt x="758" y="9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</p:grpSp>
      <p:grpSp>
        <p:nvGrpSpPr>
          <p:cNvPr id="46" name="Group 23">
            <a:extLst>
              <a:ext uri="{FF2B5EF4-FFF2-40B4-BE49-F238E27FC236}">
                <a16:creationId xmlns:a16="http://schemas.microsoft.com/office/drawing/2014/main" id="{AEA7208E-EC30-DE13-DB38-79F7951025E4}"/>
              </a:ext>
            </a:extLst>
          </p:cNvPr>
          <p:cNvGrpSpPr/>
          <p:nvPr/>
        </p:nvGrpSpPr>
        <p:grpSpPr>
          <a:xfrm>
            <a:off x="2091750" y="4523643"/>
            <a:ext cx="3854863" cy="1240802"/>
            <a:chOff x="13057103" y="2045728"/>
            <a:chExt cx="7709726" cy="2481603"/>
          </a:xfrm>
        </p:grpSpPr>
        <p:sp>
          <p:nvSpPr>
            <p:cNvPr id="47" name="Subtitle 2">
              <a:extLst>
                <a:ext uri="{FF2B5EF4-FFF2-40B4-BE49-F238E27FC236}">
                  <a16:creationId xmlns:a16="http://schemas.microsoft.com/office/drawing/2014/main" id="{3B0D8315-7BC0-3C34-807C-3CCC8BE624E5}"/>
                </a:ext>
              </a:extLst>
            </p:cNvPr>
            <p:cNvSpPr txBox="1">
              <a:spLocks/>
            </p:cNvSpPr>
            <p:nvPr/>
          </p:nvSpPr>
          <p:spPr>
            <a:xfrm>
              <a:off x="13057103" y="2692060"/>
              <a:ext cx="7709726" cy="1835271"/>
            </a:xfrm>
            <a:prstGeom prst="rect">
              <a:avLst/>
            </a:prstGeom>
          </p:spPr>
          <p:txBody>
            <a:bodyPr vert="horz" wrap="square" lIns="72000" tIns="108718" rIns="217433" bIns="108718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algn="l" defTabSz="914400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</a:pP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Lorem ipsum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dolo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sit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amet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,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consetetu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sadipscing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elit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,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sed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diam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nonumy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eirmod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tempor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invidunt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  <a:r>
                <a:rPr lang="en-GB" sz="1300" dirty="0" err="1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ut</a:t>
              </a:r>
              <a:r>
                <a:rPr lang="en-GB" sz="1300" dirty="0">
                  <a:solidFill>
                    <a:schemeClr val="tx1"/>
                  </a:solidFill>
                  <a:latin typeface="+mn-lt"/>
                  <a:cs typeface="+mn-cs"/>
                  <a:sym typeface="Calibri Light" panose="020F0302020204030204" pitchFamily="34" charset="0"/>
                </a:rPr>
                <a:t> </a:t>
              </a:r>
            </a:p>
          </p:txBody>
        </p:sp>
        <p:sp>
          <p:nvSpPr>
            <p:cNvPr id="48" name="Rectangle 25">
              <a:extLst>
                <a:ext uri="{FF2B5EF4-FFF2-40B4-BE49-F238E27FC236}">
                  <a16:creationId xmlns:a16="http://schemas.microsoft.com/office/drawing/2014/main" id="{16795E40-E0BE-3BE3-445C-44C1D205240D}"/>
                </a:ext>
              </a:extLst>
            </p:cNvPr>
            <p:cNvSpPr/>
            <p:nvPr/>
          </p:nvSpPr>
          <p:spPr>
            <a:xfrm>
              <a:off x="13057103" y="2045728"/>
              <a:ext cx="5220224" cy="861774"/>
            </a:xfrm>
            <a:prstGeom prst="rect">
              <a:avLst/>
            </a:prstGeom>
          </p:spPr>
          <p:txBody>
            <a:bodyPr wrap="square" lIns="72000">
              <a:spAutoFit/>
            </a:bodyPr>
            <a:lstStyle/>
            <a:p>
              <a:pPr>
                <a:buClr>
                  <a:schemeClr val="tx1"/>
                </a:buClr>
              </a:pPr>
              <a:r>
                <a:rPr lang="en-GB" sz="2200" b="1" dirty="0">
                  <a:solidFill>
                    <a:schemeClr val="tx2"/>
                  </a:solidFill>
                  <a:sym typeface="Calibri Light" panose="020F0302020204030204" pitchFamily="34" charset="0"/>
                </a:rPr>
                <a:t>Headline</a:t>
              </a:r>
            </a:p>
          </p:txBody>
        </p:sp>
      </p:grpSp>
      <p:sp>
        <p:nvSpPr>
          <p:cNvPr id="50" name="Oval 22">
            <a:extLst>
              <a:ext uri="{FF2B5EF4-FFF2-40B4-BE49-F238E27FC236}">
                <a16:creationId xmlns:a16="http://schemas.microsoft.com/office/drawing/2014/main" id="{BCD77E76-012E-5FD6-FE6A-52C401087881}"/>
              </a:ext>
            </a:extLst>
          </p:cNvPr>
          <p:cNvSpPr/>
          <p:nvPr/>
        </p:nvSpPr>
        <p:spPr>
          <a:xfrm>
            <a:off x="765209" y="4575263"/>
            <a:ext cx="1142325" cy="114232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7EE61368-9893-3E84-3D24-17C8F94B9A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0525" y="2922388"/>
            <a:ext cx="594000" cy="5940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3AC93825-C418-E662-ED36-FDA17D00BD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66371" y="4864687"/>
            <a:ext cx="540000" cy="540000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29EC7AF2-1E87-2863-19CA-05E95AC799E9}"/>
              </a:ext>
            </a:extLst>
          </p:cNvPr>
          <p:cNvGrpSpPr/>
          <p:nvPr/>
        </p:nvGrpSpPr>
        <p:grpSpPr>
          <a:xfrm>
            <a:off x="4965103" y="2340568"/>
            <a:ext cx="6854045" cy="4139031"/>
            <a:chOff x="4557869" y="1513606"/>
            <a:chExt cx="8214106" cy="4960345"/>
          </a:xfrm>
        </p:grpSpPr>
        <p:pic>
          <p:nvPicPr>
            <p:cNvPr id="58" name="Picture Placeholder 7">
              <a:extLst>
                <a:ext uri="{FF2B5EF4-FFF2-40B4-BE49-F238E27FC236}">
                  <a16:creationId xmlns:a16="http://schemas.microsoft.com/office/drawing/2014/main" id="{83831980-5344-5A14-A072-6C3AADEDB3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40002" t="5647" r="9527" b="9741"/>
            <a:stretch/>
          </p:blipFill>
          <p:spPr>
            <a:xfrm>
              <a:off x="5582356" y="1806708"/>
              <a:ext cx="6171986" cy="3883115"/>
            </a:xfrm>
            <a:prstGeom prst="rect">
              <a:avLst/>
            </a:prstGeom>
            <a:ln w="19050">
              <a:noFill/>
            </a:ln>
            <a:effectLst>
              <a:outerShdw blurRad="177800" dist="101600" dir="2700000" algn="tl" rotWithShape="0">
                <a:prstClr val="black">
                  <a:alpha val="22000"/>
                </a:prstClr>
              </a:outerShdw>
            </a:effectLst>
          </p:spPr>
        </p:pic>
        <p:pic>
          <p:nvPicPr>
            <p:cNvPr id="59" name="Grafik 7" descr="A picture containing electronics, display&#10;&#10;Description automatically generated">
              <a:extLst>
                <a:ext uri="{FF2B5EF4-FFF2-40B4-BE49-F238E27FC236}">
                  <a16:creationId xmlns:a16="http://schemas.microsoft.com/office/drawing/2014/main" id="{844913F5-6B44-3E8D-93F1-845E47A2A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4557869" y="1513606"/>
              <a:ext cx="8214106" cy="4960345"/>
            </a:xfrm>
            <a:custGeom>
              <a:avLst/>
              <a:gdLst>
                <a:gd name="connsiteX0" fmla="*/ 705821 w 5539143"/>
                <a:gd name="connsiteY0" fmla="*/ 205102 h 3344985"/>
                <a:gd name="connsiteX1" fmla="*/ 705821 w 5539143"/>
                <a:gd name="connsiteY1" fmla="*/ 2786302 h 3344985"/>
                <a:gd name="connsiteX2" fmla="*/ 4838621 w 5539143"/>
                <a:gd name="connsiteY2" fmla="*/ 2786302 h 3344985"/>
                <a:gd name="connsiteX3" fmla="*/ 4838621 w 5539143"/>
                <a:gd name="connsiteY3" fmla="*/ 205102 h 3344985"/>
                <a:gd name="connsiteX4" fmla="*/ 0 w 5539143"/>
                <a:gd name="connsiteY4" fmla="*/ 0 h 3344985"/>
                <a:gd name="connsiteX5" fmla="*/ 5539143 w 5539143"/>
                <a:gd name="connsiteY5" fmla="*/ 0 h 3344985"/>
                <a:gd name="connsiteX6" fmla="*/ 5539143 w 5539143"/>
                <a:gd name="connsiteY6" fmla="*/ 3344985 h 3344985"/>
                <a:gd name="connsiteX7" fmla="*/ 0 w 5539143"/>
                <a:gd name="connsiteY7" fmla="*/ 3344985 h 3344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39143" h="3344985">
                  <a:moveTo>
                    <a:pt x="705821" y="205102"/>
                  </a:moveTo>
                  <a:lnTo>
                    <a:pt x="705821" y="2786302"/>
                  </a:lnTo>
                  <a:lnTo>
                    <a:pt x="4838621" y="2786302"/>
                  </a:lnTo>
                  <a:lnTo>
                    <a:pt x="4838621" y="205102"/>
                  </a:lnTo>
                  <a:close/>
                  <a:moveTo>
                    <a:pt x="0" y="0"/>
                  </a:moveTo>
                  <a:lnTo>
                    <a:pt x="5539143" y="0"/>
                  </a:lnTo>
                  <a:lnTo>
                    <a:pt x="5539143" y="3344985"/>
                  </a:lnTo>
                  <a:lnTo>
                    <a:pt x="0" y="3344985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3743418058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F0E725C-57E0-FA52-1C2C-E5C007BC6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</p:spTree>
    <p:extLst>
      <p:ext uri="{BB962C8B-B14F-4D97-AF65-F5344CB8AC3E}">
        <p14:creationId xmlns:p14="http://schemas.microsoft.com/office/powerpoint/2010/main" val="4282211911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2FFBAF-1BA4-8345-4944-97904BB976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2FFBAF-1BA4-8345-4944-97904BB9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Placeholder 7">
            <a:extLst>
              <a:ext uri="{FF2B5EF4-FFF2-40B4-BE49-F238E27FC236}">
                <a16:creationId xmlns:a16="http://schemas.microsoft.com/office/drawing/2014/main" id="{C4A0F075-3A89-4BC6-5B99-0B3ED1AECB5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2681" t="4272" r="41574" b="5574"/>
          <a:stretch/>
        </p:blipFill>
        <p:spPr>
          <a:xfrm>
            <a:off x="7559411" y="1618887"/>
            <a:ext cx="3309702" cy="7112422"/>
          </a:xfrm>
          <a:prstGeom prst="roundRect">
            <a:avLst/>
          </a:prstGeom>
        </p:spPr>
      </p:pic>
      <p:pic>
        <p:nvPicPr>
          <p:cNvPr id="27" name="Grafik 6">
            <a:extLst>
              <a:ext uri="{FF2B5EF4-FFF2-40B4-BE49-F238E27FC236}">
                <a16:creationId xmlns:a16="http://schemas.microsoft.com/office/drawing/2014/main" id="{DFE8FFCF-B1A0-32BD-CA38-DA5EAD009E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5931" y="1487655"/>
            <a:ext cx="3642769" cy="737604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3002AB2-0D16-AA54-8C35-866532C6D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bile app</a:t>
            </a:r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9B4FB092-BE1F-5CA8-8646-B46B38E9E343}"/>
              </a:ext>
            </a:extLst>
          </p:cNvPr>
          <p:cNvGrpSpPr/>
          <p:nvPr/>
        </p:nvGrpSpPr>
        <p:grpSpPr>
          <a:xfrm>
            <a:off x="708092" y="2899216"/>
            <a:ext cx="5238521" cy="1256558"/>
            <a:chOff x="1409833" y="5124813"/>
            <a:chExt cx="10477042" cy="2513115"/>
          </a:xfrm>
        </p:grpSpPr>
        <p:grpSp>
          <p:nvGrpSpPr>
            <p:cNvPr id="11" name="Group 23">
              <a:extLst>
                <a:ext uri="{FF2B5EF4-FFF2-40B4-BE49-F238E27FC236}">
                  <a16:creationId xmlns:a16="http://schemas.microsoft.com/office/drawing/2014/main" id="{FEB9AB36-228A-885F-F9D8-A5926338E70E}"/>
                </a:ext>
              </a:extLst>
            </p:cNvPr>
            <p:cNvGrpSpPr/>
            <p:nvPr/>
          </p:nvGrpSpPr>
          <p:grpSpPr>
            <a:xfrm>
              <a:off x="4177149" y="5135808"/>
              <a:ext cx="7709726" cy="2481603"/>
              <a:chOff x="13057103" y="2045728"/>
              <a:chExt cx="7709726" cy="2481603"/>
            </a:xfrm>
          </p:grpSpPr>
          <p:sp>
            <p:nvSpPr>
              <p:cNvPr id="17" name="Subtitle 2">
                <a:extLst>
                  <a:ext uri="{FF2B5EF4-FFF2-40B4-BE49-F238E27FC236}">
                    <a16:creationId xmlns:a16="http://schemas.microsoft.com/office/drawing/2014/main" id="{D8042BFF-D02F-A097-D6AF-3C6E1536102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057103" y="2692060"/>
                <a:ext cx="7709726" cy="1835271"/>
              </a:xfrm>
              <a:prstGeom prst="rect">
                <a:avLst/>
              </a:prstGeom>
            </p:spPr>
            <p:txBody>
              <a:bodyPr vert="horz" wrap="square" lIns="72000" tIns="108718" rIns="217433" bIns="108718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algn="l" defTabSz="914400">
                  <a:lnSpc>
                    <a:spcPct val="12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GB" sz="1300">
                    <a:solidFill>
                      <a:schemeClr val="tx1"/>
                    </a:solidFill>
                    <a:latin typeface="+mn-lt"/>
                    <a:cs typeface="+mn-cs"/>
                    <a:sym typeface="Calibri Light" panose="020F0302020204030204" pitchFamily="34" charset="0"/>
                  </a:rPr>
                  <a:t>Lorem ipsum dolor sit amet, consetetur sadipscing elitr, sed diam nonumy eirmod tempor invidunt ut </a:t>
                </a:r>
              </a:p>
            </p:txBody>
          </p:sp>
          <p:sp>
            <p:nvSpPr>
              <p:cNvPr id="18" name="Rectangle 25">
                <a:extLst>
                  <a:ext uri="{FF2B5EF4-FFF2-40B4-BE49-F238E27FC236}">
                    <a16:creationId xmlns:a16="http://schemas.microsoft.com/office/drawing/2014/main" id="{BCD906B0-8176-F81E-E933-CB10FED0676E}"/>
                  </a:ext>
                </a:extLst>
              </p:cNvPr>
              <p:cNvSpPr/>
              <p:nvPr/>
            </p:nvSpPr>
            <p:spPr>
              <a:xfrm>
                <a:off x="13057103" y="2045728"/>
                <a:ext cx="5220224" cy="861774"/>
              </a:xfrm>
              <a:prstGeom prst="rect">
                <a:avLst/>
              </a:prstGeom>
            </p:spPr>
            <p:txBody>
              <a:bodyPr wrap="square" lIns="72000">
                <a:spAutoFit/>
              </a:bodyPr>
              <a:lstStyle/>
              <a:p>
                <a:pPr>
                  <a:buClr>
                    <a:schemeClr val="tx1"/>
                  </a:buClr>
                </a:pPr>
                <a:r>
                  <a:rPr lang="en-GB" sz="2200" b="1">
                    <a:solidFill>
                      <a:schemeClr val="tx2"/>
                    </a:solidFill>
                    <a:sym typeface="Calibri Light" panose="020F0302020204030204" pitchFamily="34" charset="0"/>
                  </a:rPr>
                  <a:t>Headline</a:t>
                </a:r>
              </a:p>
            </p:txBody>
          </p:sp>
        </p:grpSp>
        <p:sp>
          <p:nvSpPr>
            <p:cNvPr id="13" name="Oval 22">
              <a:extLst>
                <a:ext uri="{FF2B5EF4-FFF2-40B4-BE49-F238E27FC236}">
                  <a16:creationId xmlns:a16="http://schemas.microsoft.com/office/drawing/2014/main" id="{5CCB6903-1073-F9CB-B3A2-44F25257E30E}"/>
                </a:ext>
              </a:extLst>
            </p:cNvPr>
            <p:cNvSpPr/>
            <p:nvPr/>
          </p:nvSpPr>
          <p:spPr>
            <a:xfrm>
              <a:off x="1409833" y="5124813"/>
              <a:ext cx="2513116" cy="25131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</p:grp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5499462-65BF-4619-DA36-F7674828AF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8DB5B5E-A281-405D-424F-FB6525A608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70450" y="3102573"/>
            <a:ext cx="790614" cy="79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894731"/>
      </p:ext>
    </p:extLst>
  </p:cSld>
  <p:clrMapOvr>
    <a:masterClrMapping/>
  </p:clrMapOvr>
  <p:transition spd="slow">
    <p:push dir="u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DED4A4B-F696-92AD-2ABF-23EC3AB358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7DED4A4B-F696-92AD-2ABF-23EC3AB35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095EAB6-984D-BEEE-A077-E9F9A98BDE1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endParaRPr lang="en-GB" noProof="0" dirty="0"/>
          </a:p>
        </p:txBody>
      </p:sp>
      <p:pic>
        <p:nvPicPr>
          <p:cNvPr id="2" name="Picture Placeholder 1">
            <a:extLst>
              <a:ext uri="{FF2B5EF4-FFF2-40B4-BE49-F238E27FC236}">
                <a16:creationId xmlns:a16="http://schemas.microsoft.com/office/drawing/2014/main" id="{C0750A68-B7BA-CB2E-28E0-85FCF18251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5556" r="5556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2489E06-F742-961E-2583-32041D91F2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098000"/>
            <a:ext cx="8640000" cy="4565756"/>
          </a:xfrm>
        </p:spPr>
        <p:txBody>
          <a:bodyPr/>
          <a:lstStyle/>
          <a:p>
            <a:r>
              <a:rPr lang="en-GB" noProof="0" dirty="0"/>
              <a:t>Goal of the project or summary of the customer benefit (e.g. significantly increase efficiency with a new software architecture and improved usability)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827F85-20DC-68AD-23E9-7C44C3FAC6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4375632"/>
      </p:ext>
    </p:extLst>
  </p:cSld>
  <p:clrMapOvr>
    <a:masterClrMapping/>
  </p:clrMapOvr>
  <p:transition spd="slow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4B0B545-F926-5529-E8F4-70EA416CE38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"/>
          <a:stretch/>
        </p:blipFill>
        <p:spPr>
          <a:xfrm>
            <a:off x="0" y="1098000"/>
            <a:ext cx="12192000" cy="5760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885BA-A867-12F4-AC4F-6E1A545BD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ftware Development Quality Map</a:t>
            </a:r>
          </a:p>
        </p:txBody>
      </p:sp>
    </p:spTree>
    <p:extLst>
      <p:ext uri="{BB962C8B-B14F-4D97-AF65-F5344CB8AC3E}">
        <p14:creationId xmlns:p14="http://schemas.microsoft.com/office/powerpoint/2010/main" val="3894274065"/>
      </p:ext>
    </p:extLst>
  </p:cSld>
  <p:clrMapOvr>
    <a:masterClrMapping/>
  </p:clrMapOvr>
  <p:transition spd="slow">
    <p:push dir="u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4C257E1-C69A-6B93-A9D0-0C7F086C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/>
          <a:lstStyle/>
          <a:p>
            <a:r>
              <a:rPr lang="en-GB" dirty="0" err="1"/>
              <a:t>Technica</a:t>
            </a:r>
            <a:r>
              <a:rPr lang="en-GB" dirty="0"/>
              <a:t> Radar – Vol. </a:t>
            </a:r>
            <a:r>
              <a:rPr lang="en-CH" dirty="0"/>
              <a:t>4/2024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99C406-ACF2-B810-6532-C1DF4328DF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31" y="1098000"/>
            <a:ext cx="11396538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085526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052DC5-8AEF-4B7F-34D2-716E4153D1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052DC5-8AEF-4B7F-34D2-716E4153D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EF29FAE8-E1AD-FA22-A7BD-00CDD1CE94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760" b="2760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DFB63B3-A8AC-8683-C803-22C28B45E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H"/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513318714"/>
      </p:ext>
    </p:extLst>
  </p:cSld>
  <p:clrMapOvr>
    <a:masterClrMapping/>
  </p:clrMapOvr>
  <p:transition spd="slow">
    <p:push dir="u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B1DE6781-FF1B-174E-D326-098185DD36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190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B1DE6781-FF1B-174E-D326-098185DD3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4DF4DAC4-DF93-8BBF-E49B-5E11126A9D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1ECDDC-1490-6C78-B129-80B063D8A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ead of Business Are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3F5AB2-805B-C0C8-F681-D8C8B17A00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Christof Oberholzer</a:t>
            </a:r>
          </a:p>
        </p:txBody>
      </p:sp>
      <p:pic>
        <p:nvPicPr>
          <p:cNvPr id="27" name="Picture Placeholder 13">
            <a:extLst>
              <a:ext uri="{FF2B5EF4-FFF2-40B4-BE49-F238E27FC236}">
                <a16:creationId xmlns:a16="http://schemas.microsoft.com/office/drawing/2014/main" id="{333176DD-80BC-639E-A138-EF6176E0351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" y="1530000"/>
            <a:ext cx="2160000" cy="2160000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BE45C-21BC-B436-E58A-930848550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/>
              <a:t>bbv Software Services AG</a:t>
            </a:r>
          </a:p>
          <a:p>
            <a:r>
              <a:rPr lang="en-GB"/>
              <a:t>Blumenrain 10</a:t>
            </a:r>
          </a:p>
          <a:p>
            <a:r>
              <a:rPr lang="en-GB"/>
              <a:t>6002 Lucern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7A40B5F-03D8-7474-AD8D-512346C740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Email:	christof.oberholzer@bbv.ch</a:t>
            </a:r>
          </a:p>
          <a:p>
            <a:r>
              <a:rPr lang="en-GB"/>
              <a:t>Phone:	+41 41 429 01 46</a:t>
            </a:r>
          </a:p>
          <a:p>
            <a:r>
              <a:rPr lang="en-GB"/>
              <a:t>Mobile:	+41 79 414 93 90</a:t>
            </a:r>
          </a:p>
          <a:p>
            <a:r>
              <a:rPr lang="en-GB"/>
              <a:t>Web:	www.bbv.c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AA43BA-225C-372B-5396-CFDD29D4E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tact (1 person)</a:t>
            </a:r>
          </a:p>
        </p:txBody>
      </p:sp>
    </p:spTree>
    <p:extLst>
      <p:ext uri="{BB962C8B-B14F-4D97-AF65-F5344CB8AC3E}">
        <p14:creationId xmlns:p14="http://schemas.microsoft.com/office/powerpoint/2010/main" val="3096843767"/>
      </p:ext>
    </p:extLst>
  </p:cSld>
  <p:clrMapOvr>
    <a:masterClrMapping/>
  </p:clrMapOvr>
  <p:transition spd="slow">
    <p:push dir="u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2C4E3D74-2B65-E679-7FD9-B6C39148D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663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9" name="Object 58" hidden="1">
                        <a:extLst>
                          <a:ext uri="{FF2B5EF4-FFF2-40B4-BE49-F238E27FC236}">
                            <a16:creationId xmlns:a16="http://schemas.microsoft.com/office/drawing/2014/main" id="{2C4E3D74-2B65-E679-7FD9-B6C39148D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64D53AB-FCC8-7D30-7586-2513D1E3E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BE45C-21BC-B436-E58A-930848550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Email:	martin.egloff@bbv.ch</a:t>
            </a:r>
          </a:p>
          <a:p>
            <a:r>
              <a:rPr lang="en-GB" dirty="0"/>
              <a:t>Phone:	+41 41 429 01 33</a:t>
            </a:r>
          </a:p>
          <a:p>
            <a:r>
              <a:rPr lang="en-GB" dirty="0"/>
              <a:t>Mobile:	+41 79 999 99 99</a:t>
            </a:r>
          </a:p>
          <a:p>
            <a:r>
              <a:rPr lang="en-GB" dirty="0"/>
              <a:t>Web:	www.bbv.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776168-5B00-0778-86CF-9D8F2FADB4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/>
              <a:t>Email:	christof.oberholzer@bbv.ch</a:t>
            </a:r>
          </a:p>
          <a:p>
            <a:r>
              <a:rPr lang="en-GB"/>
              <a:t>Phone:	+41 41 429 01 46</a:t>
            </a:r>
          </a:p>
          <a:p>
            <a:r>
              <a:rPr lang="en-GB"/>
              <a:t>Mobile:	+41 79 414 93 90</a:t>
            </a:r>
          </a:p>
          <a:p>
            <a:r>
              <a:rPr lang="en-GB"/>
              <a:t>Web:	www.bbv.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1ECDDC-1490-6C78-B129-80B063D8A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3F5AB2-805B-C0C8-F681-D8C8B17A00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Martin Egloff</a:t>
            </a:r>
          </a:p>
        </p:txBody>
      </p:sp>
      <p:pic>
        <p:nvPicPr>
          <p:cNvPr id="27" name="Picture Placeholder 13">
            <a:extLst>
              <a:ext uri="{FF2B5EF4-FFF2-40B4-BE49-F238E27FC236}">
                <a16:creationId xmlns:a16="http://schemas.microsoft.com/office/drawing/2014/main" id="{333176DD-80BC-639E-A138-EF6176E0351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28" name="Picture Placeholder 14">
            <a:extLst>
              <a:ext uri="{FF2B5EF4-FFF2-40B4-BE49-F238E27FC236}">
                <a16:creationId xmlns:a16="http://schemas.microsoft.com/office/drawing/2014/main" id="{C9A2E35E-2A94-A0B9-82B7-2B89FC58303C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" b="49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FBADAC6-6D26-E660-F663-7E595D51559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C72349-D654-4E7A-AB4C-7C46B9C6EF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/>
              <a:t>Christof Oberholz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7FDB52B-120B-4234-379A-4D6366B01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act (2 persons)</a:t>
            </a:r>
          </a:p>
        </p:txBody>
      </p:sp>
    </p:spTree>
    <p:extLst>
      <p:ext uri="{BB962C8B-B14F-4D97-AF65-F5344CB8AC3E}">
        <p14:creationId xmlns:p14="http://schemas.microsoft.com/office/powerpoint/2010/main" val="2905407407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>
            <a:extLst>
              <a:ext uri="{FF2B5EF4-FFF2-40B4-BE49-F238E27FC236}">
                <a16:creationId xmlns:a16="http://schemas.microsoft.com/office/drawing/2014/main" id="{C26FA2E7-6B1D-E92D-9D4D-35710F077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163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3" name="Object 52" hidden="1">
                        <a:extLst>
                          <a:ext uri="{FF2B5EF4-FFF2-40B4-BE49-F238E27FC236}">
                            <a16:creationId xmlns:a16="http://schemas.microsoft.com/office/drawing/2014/main" id="{C26FA2E7-6B1D-E92D-9D4D-35710F077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BE45C-21BC-B436-E58A-930848550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martin.egloff@bbv.ch</a:t>
            </a:r>
          </a:p>
          <a:p>
            <a:r>
              <a:rPr lang="en-GB" dirty="0"/>
              <a:t>Phone:	+41 41 429 01 33</a:t>
            </a:r>
          </a:p>
          <a:p>
            <a:r>
              <a:rPr lang="en-GB" dirty="0"/>
              <a:t>Mobile:	+41 79 999 99 99</a:t>
            </a:r>
          </a:p>
          <a:p>
            <a:r>
              <a:rPr lang="en-GB" dirty="0"/>
              <a:t>Web:	www.bbv.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776168-5B00-0778-86CF-9D8F2FADB4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/>
              <a:t>christof.oberholzer@bbv.ch</a:t>
            </a:r>
          </a:p>
          <a:p>
            <a:r>
              <a:rPr lang="en-GB"/>
              <a:t>Phone:	+41 41 429 01 46</a:t>
            </a:r>
          </a:p>
          <a:p>
            <a:r>
              <a:rPr lang="en-GB"/>
              <a:t>Mobile:	+41 79 414 93 90</a:t>
            </a:r>
          </a:p>
          <a:p>
            <a:r>
              <a:rPr lang="en-GB"/>
              <a:t>Web:	www.bbv.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1ECDDC-1490-6C78-B129-80B063D8AE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3F5AB2-805B-C0C8-F681-D8C8B17A00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Martin Egloff</a:t>
            </a:r>
          </a:p>
        </p:txBody>
      </p:sp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50AE3D9D-544D-3E16-204A-930CC35349A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1F94D22B-0BF2-E0CC-97FA-9E64564DAB8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FBADAC6-6D26-E660-F663-7E595D51559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C72349-D654-4E7A-AB4C-7C46B9C6EF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/>
              <a:t>Christof Oberholz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99F6A-D86B-7E4B-F34B-A196E3E9A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/>
              <a:t>micha.brandenberger@bbv.ch</a:t>
            </a:r>
          </a:p>
          <a:p>
            <a:r>
              <a:rPr lang="en-GB"/>
              <a:t>Phone:	+41 41 429 01 92</a:t>
            </a:r>
          </a:p>
          <a:p>
            <a:r>
              <a:rPr lang="en-GB"/>
              <a:t>Mobile:	+41 79 999 99 99</a:t>
            </a:r>
          </a:p>
          <a:p>
            <a:r>
              <a:rPr lang="en-GB"/>
              <a:t>Web:	www.bbv.ch</a:t>
            </a: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1C8716A1-45C3-938F-6583-EC32260B8175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6B67584-0EB5-BFD0-7ACE-0A20F6EA93F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dirty="0"/>
              <a:t>Head of Business Area </a:t>
            </a:r>
          </a:p>
          <a:p>
            <a:r>
              <a:rPr lang="en-GB" dirty="0"/>
              <a:t>bbv Software Services A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6382587-C239-5FC0-B971-105F1C0E41E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/>
              <a:t>Micha Brandenberg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91A0B51-684B-A8EC-DA68-63DF9CB1D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tact (3 persons)</a:t>
            </a:r>
          </a:p>
        </p:txBody>
      </p:sp>
    </p:spTree>
    <p:extLst>
      <p:ext uri="{BB962C8B-B14F-4D97-AF65-F5344CB8AC3E}">
        <p14:creationId xmlns:p14="http://schemas.microsoft.com/office/powerpoint/2010/main" val="3900042636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p:transition spd="slow">
    <p:push dir="u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How-to guides</a:t>
            </a:r>
          </a:p>
        </p:txBody>
      </p:sp>
    </p:spTree>
    <p:extLst>
      <p:ext uri="{BB962C8B-B14F-4D97-AF65-F5344CB8AC3E}">
        <p14:creationId xmlns:p14="http://schemas.microsoft.com/office/powerpoint/2010/main" val="276958039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AD0D753-004B-7256-B36A-8C4738724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my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my file</a:t>
            </a:r>
          </a:p>
        </p:txBody>
      </p:sp>
    </p:spTree>
    <p:extLst>
      <p:ext uri="{BB962C8B-B14F-4D97-AF65-F5344CB8AC3E}">
        <p14:creationId xmlns:p14="http://schemas.microsoft.com/office/powerpoint/2010/main" val="45842560"/>
      </p:ext>
    </p:extLst>
  </p:cSld>
  <p:clrMapOvr>
    <a:masterClrMapping/>
  </p:clrMapOvr>
  <p:transition spd="slow">
    <p:push dir="u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41D12F-B135-4159-C169-DE452BDD33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80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41D12F-B135-4159-C169-DE452BDD33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oup 37">
            <a:extLst>
              <a:ext uri="{FF2B5EF4-FFF2-40B4-BE49-F238E27FC236}">
                <a16:creationId xmlns:a16="http://schemas.microsoft.com/office/drawing/2014/main" id="{E140A25A-DF6B-4204-A597-8B53E195249D}"/>
              </a:ext>
            </a:extLst>
          </p:cNvPr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60" name="Rechteck 11">
              <a:extLst>
                <a:ext uri="{FF2B5EF4-FFF2-40B4-BE49-F238E27FC236}">
                  <a16:creationId xmlns:a16="http://schemas.microsoft.com/office/drawing/2014/main" id="{66BFFB58-8FD5-7D03-C728-2693A7416F77}"/>
                </a:ext>
              </a:extLst>
            </p:cNvPr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D78C778-0E33-31FE-6EFA-63365FFCE0B0}"/>
                </a:ext>
              </a:extLst>
            </p:cNvPr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305709E5-1E8C-E8CE-BA52-63EA88683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</p:spPr>
        </p:pic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FD0790F1-7C15-85DF-E10C-820E24E9A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bv Master layouts &amp; slide library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07A0ADF-C71F-7A34-664B-C9837DE80F58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7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00" b="1" kern="1200" spc="40">
                <a:solidFill>
                  <a:schemeClr val="bg1"/>
                </a:solidFill>
                <a:cs typeface="Arial" panose="020B0604020202020204" pitchFamily="34" charset="0"/>
              </a:rPr>
              <a:t>Insert new slide</a:t>
            </a:r>
          </a:p>
        </p:txBody>
      </p:sp>
      <p:sp>
        <p:nvSpPr>
          <p:cNvPr id="4" name="Rechteck 13">
            <a:extLst>
              <a:ext uri="{FF2B5EF4-FFF2-40B4-BE49-F238E27FC236}">
                <a16:creationId xmlns:a16="http://schemas.microsoft.com/office/drawing/2014/main" id="{3B89209E-4589-13C1-1A01-2A27C42F2E8B}"/>
              </a:ext>
            </a:extLst>
          </p:cNvPr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Click on «New Slide»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FA896A9-75E3-CF28-5EFA-F860576C746A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7" name="Rechteck 13">
            <a:extLst>
              <a:ext uri="{FF2B5EF4-FFF2-40B4-BE49-F238E27FC236}">
                <a16:creationId xmlns:a16="http://schemas.microsoft.com/office/drawing/2014/main" id="{EBC95599-CBA1-4453-B6BD-FE23F06D949A}"/>
              </a:ext>
            </a:extLst>
          </p:cNvPr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Select layout</a:t>
            </a:r>
          </a:p>
          <a:p>
            <a:pPr algn="ctr" defTabSz="914354">
              <a:lnSpc>
                <a:spcPct val="120000"/>
              </a:lnSpc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hoose the desired layout from the pre-programmed master layouts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72304DA0-924A-DB02-67DE-E6FB6B6A18B7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Rechteck 13">
            <a:extLst>
              <a:ext uri="{FF2B5EF4-FFF2-40B4-BE49-F238E27FC236}">
                <a16:creationId xmlns:a16="http://schemas.microsoft.com/office/drawing/2014/main" id="{FF2255DC-5F79-8DC2-B761-1D7099A50917}"/>
              </a:ext>
            </a:extLst>
          </p:cNvPr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Or select layout from slide library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612A30E-E4D4-7DA6-B1CD-62C76EA1BBDE}"/>
              </a:ext>
            </a:extLst>
          </p:cNvPr>
          <p:cNvSpPr txBox="1">
            <a:spLocks noChangeAspect="1"/>
          </p:cNvSpPr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  <a:sym typeface="Wingdings" pitchFamily="2" charset="2"/>
              </a:rPr>
              <a:t></a:t>
            </a:r>
            <a:endParaRPr lang="en-GB" sz="1800">
              <a:solidFill>
                <a:prstClr val="white"/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3" name="Gerade Verbindung mit Pfeil 94">
            <a:extLst>
              <a:ext uri="{FF2B5EF4-FFF2-40B4-BE49-F238E27FC236}">
                <a16:creationId xmlns:a16="http://schemas.microsoft.com/office/drawing/2014/main" id="{600C8158-7970-68D0-E564-9286CE57AF73}"/>
              </a:ext>
            </a:extLst>
          </p:cNvPr>
          <p:cNvCxnSpPr>
            <a:cxnSpLocks/>
          </p:cNvCxnSpPr>
          <p:nvPr/>
        </p:nvCxnSpPr>
        <p:spPr bwMode="auto">
          <a:xfrm flipH="1">
            <a:off x="3025123" y="4015522"/>
            <a:ext cx="828000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94">
            <a:extLst>
              <a:ext uri="{FF2B5EF4-FFF2-40B4-BE49-F238E27FC236}">
                <a16:creationId xmlns:a16="http://schemas.microsoft.com/office/drawing/2014/main" id="{399D6B8C-70D2-0771-4A64-11C150251EB3}"/>
              </a:ext>
            </a:extLst>
          </p:cNvPr>
          <p:cNvCxnSpPr>
            <a:cxnSpLocks/>
          </p:cNvCxnSpPr>
          <p:nvPr/>
        </p:nvCxnSpPr>
        <p:spPr bwMode="auto">
          <a:xfrm flipV="1">
            <a:off x="3025123" y="3612089"/>
            <a:ext cx="0" cy="806866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4A6FAE0-CE55-558F-3770-DADDC918E9DC}"/>
              </a:ext>
            </a:extLst>
          </p:cNvPr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3" name="Rechteck 11">
              <a:extLst>
                <a:ext uri="{FF2B5EF4-FFF2-40B4-BE49-F238E27FC236}">
                  <a16:creationId xmlns:a16="http://schemas.microsoft.com/office/drawing/2014/main" id="{25C695CD-F4D3-B5D6-CC21-4947CEDC371D}"/>
                </a:ext>
              </a:extLst>
            </p:cNvPr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D01EDA7-3A65-7418-833F-DDAC448B0812}"/>
                </a:ext>
              </a:extLst>
            </p:cNvPr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0433C84E-3670-660D-0B6D-67F1811E6F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</p:spPr>
          </p:pic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4145823-376A-9FB6-2137-BC07CEAFD637}"/>
                  </a:ext>
                </a:extLst>
              </p:cNvPr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793"/>
                </a:srgbClr>
              </a:solidFill>
              <a:ln w="28575">
                <a:solidFill>
                  <a:srgbClr val="F39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0" name="Textplatzhalter 2">
                <a:extLst>
                  <a:ext uri="{FF2B5EF4-FFF2-40B4-BE49-F238E27FC236}">
                    <a16:creationId xmlns:a16="http://schemas.microsoft.com/office/drawing/2014/main" id="{5064DA42-DF09-BBE6-6A77-D2D92C100BA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txBody>
              <a:bodyPr vert="horz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indent="0" algn="ctr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FontTx/>
                  <a:buNone/>
                  <a:defRPr sz="2000" b="1">
                    <a:solidFill>
                      <a:schemeClr val="bg1"/>
                    </a:solidFill>
                    <a:latin typeface="+mj-lt"/>
                  </a:defRPr>
                </a:lvl1pPr>
                <a:lvl2pPr marL="0" indent="0">
                  <a:lnSpc>
                    <a:spcPct val="90000"/>
                  </a:lnSpc>
                  <a:spcBef>
                    <a:spcPts val="900"/>
                  </a:spcBef>
                  <a:buFontTx/>
                  <a:buNone/>
                  <a:defRPr sz="2000">
                    <a:solidFill>
                      <a:schemeClr val="tx2"/>
                    </a:solidFill>
                  </a:defRPr>
                </a:lvl2pPr>
                <a:lvl3pPr marL="216000" indent="-216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3pPr>
                <a:lvl4pPr marL="396000" indent="-18000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4pPr>
                <a:lvl5pPr marL="576000" indent="-144000">
                  <a:lnSpc>
                    <a:spcPct val="90000"/>
                  </a:lnSpc>
                  <a:spcBef>
                    <a:spcPts val="1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5pPr>
                <a:lvl6pPr marL="0" indent="0">
                  <a:lnSpc>
                    <a:spcPct val="90000"/>
                  </a:lnSpc>
                  <a:spcBef>
                    <a:spcPts val="600"/>
                  </a:spcBef>
                  <a:buFontTx/>
                  <a:buNone/>
                  <a:defRPr sz="1400" b="1">
                    <a:solidFill>
                      <a:schemeClr val="tx2"/>
                    </a:solidFill>
                  </a:defRPr>
                </a:lvl6pPr>
                <a:lvl7pPr marL="0" indent="0">
                  <a:lnSpc>
                    <a:spcPct val="90000"/>
                  </a:lnSpc>
                  <a:spcBef>
                    <a:spcPts val="300"/>
                  </a:spcBef>
                  <a:buFontTx/>
                  <a:buNone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7pPr>
                <a:lvl8pPr marL="180000" indent="-180000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8pPr>
                <a:lvl9pPr marL="360000" indent="-180000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9pPr>
              </a:lstStyle>
              <a:p>
                <a:pPr defTabSz="1219170">
                  <a:spcBef>
                    <a:spcPts val="1600"/>
                  </a:spcBef>
                  <a:defRPr/>
                </a:pPr>
                <a:r>
                  <a:rPr lang="en-GB" sz="120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1E9E50D-7719-B2AE-6C2F-6F05036464CC}"/>
              </a:ext>
            </a:extLst>
          </p:cNvPr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25" name="Rechteck 11">
              <a:extLst>
                <a:ext uri="{FF2B5EF4-FFF2-40B4-BE49-F238E27FC236}">
                  <a16:creationId xmlns:a16="http://schemas.microsoft.com/office/drawing/2014/main" id="{55704649-5C21-96CF-504B-48F20679D37B}"/>
                </a:ext>
              </a:extLst>
            </p:cNvPr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A817715-965A-F94A-2E07-67B11E6E2927}"/>
                </a:ext>
              </a:extLst>
            </p:cNvPr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22C3C041-DAE2-78DD-E7BF-C0D86E5D5A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481AE7A-6640-B3C7-115A-E468ECA62952}"/>
                  </a:ext>
                </a:extLst>
              </p:cNvPr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793"/>
                </a:srgbClr>
              </a:solidFill>
              <a:ln w="28575">
                <a:solidFill>
                  <a:srgbClr val="F39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platzhalter 2">
                <a:extLst>
                  <a:ext uri="{FF2B5EF4-FFF2-40B4-BE49-F238E27FC236}">
                    <a16:creationId xmlns:a16="http://schemas.microsoft.com/office/drawing/2014/main" id="{0A95A5DF-67E4-0D20-273A-BB428179FB2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txBody>
              <a:bodyPr vert="horz" lIns="0" tIns="0" rIns="0" bIns="0" rtlCol="0" anchor="ctr" anchorCtr="0">
                <a:noAutofit/>
              </a:bodyPr>
              <a:lstStyle>
                <a:defPPr>
                  <a:defRPr lang="de-DE"/>
                </a:defPPr>
                <a:lvl1pPr indent="0" algn="ctr">
                  <a:lnSpc>
                    <a:spcPct val="90000"/>
                  </a:lnSpc>
                  <a:spcBef>
                    <a:spcPts val="1200"/>
                  </a:spcBef>
                  <a:spcAft>
                    <a:spcPts val="0"/>
                  </a:spcAft>
                  <a:buFontTx/>
                  <a:buNone/>
                  <a:defRPr sz="2000" b="1">
                    <a:solidFill>
                      <a:schemeClr val="bg1"/>
                    </a:solidFill>
                    <a:latin typeface="+mj-lt"/>
                  </a:defRPr>
                </a:lvl1pPr>
                <a:lvl2pPr marL="0" indent="0">
                  <a:lnSpc>
                    <a:spcPct val="90000"/>
                  </a:lnSpc>
                  <a:spcBef>
                    <a:spcPts val="900"/>
                  </a:spcBef>
                  <a:buFontTx/>
                  <a:buNone/>
                  <a:defRPr sz="2000">
                    <a:solidFill>
                      <a:schemeClr val="tx2"/>
                    </a:solidFill>
                  </a:defRPr>
                </a:lvl2pPr>
                <a:lvl3pPr marL="216000" indent="-216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3pPr>
                <a:lvl4pPr marL="396000" indent="-18000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4pPr>
                <a:lvl5pPr marL="576000" indent="-144000">
                  <a:lnSpc>
                    <a:spcPct val="90000"/>
                  </a:lnSpc>
                  <a:spcBef>
                    <a:spcPts val="1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5pPr>
                <a:lvl6pPr marL="0" indent="0">
                  <a:lnSpc>
                    <a:spcPct val="90000"/>
                  </a:lnSpc>
                  <a:spcBef>
                    <a:spcPts val="600"/>
                  </a:spcBef>
                  <a:buFontTx/>
                  <a:buNone/>
                  <a:defRPr sz="1400" b="1">
                    <a:solidFill>
                      <a:schemeClr val="tx2"/>
                    </a:solidFill>
                  </a:defRPr>
                </a:lvl6pPr>
                <a:lvl7pPr marL="0" indent="0">
                  <a:lnSpc>
                    <a:spcPct val="90000"/>
                  </a:lnSpc>
                  <a:spcBef>
                    <a:spcPts val="300"/>
                  </a:spcBef>
                  <a:buFontTx/>
                  <a:buNone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7pPr>
                <a:lvl8pPr marL="180000" indent="-180000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8pPr>
                <a:lvl9pPr marL="360000" indent="-180000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9pPr>
              </a:lstStyle>
              <a:p>
                <a:pPr defTabSz="1219170">
                  <a:spcBef>
                    <a:spcPts val="1600"/>
                  </a:spcBef>
                  <a:defRPr/>
                </a:pPr>
                <a:r>
                  <a:rPr lang="en-GB" sz="1200">
                    <a:solidFill>
                      <a:prstClr val="white"/>
                    </a:solidFill>
                    <a:latin typeface="+mn-lt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9528006"/>
      </p:ext>
    </p:extLst>
  </p:cSld>
  <p:clrMapOvr>
    <a:masterClrMapping/>
  </p:clrMapOvr>
  <p:transition spd="slow">
    <p:push dir="u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FD4542-45ED-720C-8ACF-AD962074A4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614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FD4542-45ED-720C-8ACF-AD962074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>
            <a:extLst>
              <a:ext uri="{FF2B5EF4-FFF2-40B4-BE49-F238E27FC236}">
                <a16:creationId xmlns:a16="http://schemas.microsoft.com/office/drawing/2014/main" id="{6F12B9C0-DE97-B8F1-9BD1-CDC1F881498C}"/>
              </a:ext>
            </a:extLst>
          </p:cNvPr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Insert original slide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py slide in original presentation with Ctrl+C.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In the target presentation, select the slide after which the original slide is to be inserted.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in the tab «Home / Paste / Use Destination Theme».</a:t>
            </a:r>
          </a:p>
        </p:txBody>
      </p:sp>
      <p:sp>
        <p:nvSpPr>
          <p:cNvPr id="57" name="Rechteck 13">
            <a:extLst>
              <a:ext uri="{FF2B5EF4-FFF2-40B4-BE49-F238E27FC236}">
                <a16:creationId xmlns:a16="http://schemas.microsoft.com/office/drawing/2014/main" id="{413AE714-D606-F5FC-7C9C-CAB2AADE0305}"/>
              </a:ext>
            </a:extLst>
          </p:cNvPr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Assign slide layout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the inserted slide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Select the desired layout in the tab «Home / Layout».</a:t>
            </a:r>
          </a:p>
        </p:txBody>
      </p:sp>
      <p:sp>
        <p:nvSpPr>
          <p:cNvPr id="58" name="Rechteck 13">
            <a:extLst>
              <a:ext uri="{FF2B5EF4-FFF2-40B4-BE49-F238E27FC236}">
                <a16:creationId xmlns:a16="http://schemas.microsoft.com/office/drawing/2014/main" id="{09437636-12D5-9F3F-EBAD-EFFE9239E6A3}"/>
              </a:ext>
            </a:extLst>
          </p:cNvPr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Adjust slide manually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heck all slide contents such as text blocks, images, etc. for position and size and manually adjust them to the new layout grid.</a:t>
            </a:r>
          </a:p>
        </p:txBody>
      </p:sp>
      <p:sp>
        <p:nvSpPr>
          <p:cNvPr id="59" name="Rechteck 13">
            <a:extLst>
              <a:ext uri="{FF2B5EF4-FFF2-40B4-BE49-F238E27FC236}">
                <a16:creationId xmlns:a16="http://schemas.microsoft.com/office/drawing/2014/main" id="{AA38C107-AE0F-D797-3F89-D09E50D2266F}"/>
              </a:ext>
            </a:extLst>
          </p:cNvPr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96000" rIns="144000" bIns="0" rtlCol="0" anchor="t"/>
          <a:lstStyle/>
          <a:p>
            <a:pPr algn="ctr" defTabSz="914354">
              <a:lnSpc>
                <a:spcPct val="120000"/>
              </a:lnSpc>
              <a:spcAft>
                <a:spcPts val="1200"/>
              </a:spcAft>
            </a:pPr>
            <a:r>
              <a:rPr lang="en-GB" sz="1400" b="1">
                <a:solidFill>
                  <a:schemeClr val="tx1"/>
                </a:solidFill>
                <a:cs typeface="Arial" panose="020B0604020202020204" pitchFamily="34" charset="0"/>
              </a:rPr>
              <a:t>Check design</a:t>
            </a:r>
          </a:p>
          <a:p>
            <a:pPr defTabSz="914354">
              <a:lnSpc>
                <a:spcPct val="120000"/>
              </a:lnSpc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Independently check: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Font type, sizes and font colours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lours of graphic elements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Text alignment</a:t>
            </a:r>
          </a:p>
          <a:p>
            <a:pPr marL="216000" indent="-216000" defTabSz="914354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cs typeface="Arial" panose="020B0604020202020204" pitchFamily="34" charset="0"/>
              </a:rPr>
              <a:t>Coherence of the overall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6977D-70CC-5A99-A04C-A6FF969B6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Transfer of existing slides into the new Master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B44F42DF-D404-5AAD-039D-CFD21374E730}"/>
              </a:ext>
            </a:extLst>
          </p:cNvPr>
          <p:cNvSpPr txBox="1">
            <a:spLocks noChangeAspect="1"/>
          </p:cNvSpPr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F392E57-185E-3B94-453A-FB974D183063}"/>
              </a:ext>
            </a:extLst>
          </p:cNvPr>
          <p:cNvSpPr txBox="1">
            <a:spLocks noChangeAspect="1"/>
          </p:cNvSpPr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477EC5-FF6C-7C83-A777-56643796CF4B}"/>
              </a:ext>
            </a:extLst>
          </p:cNvPr>
          <p:cNvSpPr txBox="1">
            <a:spLocks noChangeAspect="1"/>
          </p:cNvSpPr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62567B12-E59D-A63D-3499-E0DB4A2F9EC3}"/>
              </a:ext>
            </a:extLst>
          </p:cNvPr>
          <p:cNvSpPr txBox="1">
            <a:spLocks noChangeAspect="1"/>
          </p:cNvSpPr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vert="horz" lIns="192000" tIns="192000" rIns="192000" bIns="192000" rtlCol="0" anchor="ctr" anchorCtr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9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 marL="216000" indent="-216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96000" indent="-1800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576000" indent="-144000">
              <a:lnSpc>
                <a:spcPct val="9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300"/>
              </a:spcBef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80000" indent="-18000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60000" indent="-180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defTabSz="1219170">
              <a:spcBef>
                <a:spcPts val="1600"/>
              </a:spcBef>
              <a:defRPr/>
            </a:pPr>
            <a:r>
              <a:rPr lang="en-GB" sz="180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BB7D4B34-98C7-094B-C2B0-C92D00376F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400" y="4230000"/>
            <a:ext cx="1598065" cy="900000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18000"/>
              </a:prstClr>
            </a:outerShdw>
          </a:effec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E60B5F9D-4396-18A6-2404-1D3B8694D2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200" y="5400000"/>
            <a:ext cx="1608771" cy="900000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18000"/>
              </a:prstClr>
            </a:outerShdw>
          </a:effectLst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DAB675E2-ACA1-1243-028D-65C37B4CB32A}"/>
              </a:ext>
            </a:extLst>
          </p:cNvPr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64" name="Gerade Verbindung mit Pfeil 94">
              <a:extLst>
                <a:ext uri="{FF2B5EF4-FFF2-40B4-BE49-F238E27FC236}">
                  <a16:creationId xmlns:a16="http://schemas.microsoft.com/office/drawing/2014/main" id="{D9C64834-3692-F4E5-1C86-3CF07C10B95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99222" y="5015253"/>
              <a:ext cx="1140370" cy="0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94">
              <a:extLst>
                <a:ext uri="{FF2B5EF4-FFF2-40B4-BE49-F238E27FC236}">
                  <a16:creationId xmlns:a16="http://schemas.microsoft.com/office/drawing/2014/main" id="{6B9B53DD-B453-72D6-B93C-1BB1B797327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99222" y="4392591"/>
              <a:ext cx="0" cy="622662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Shape 161">
            <a:extLst>
              <a:ext uri="{FF2B5EF4-FFF2-40B4-BE49-F238E27FC236}">
                <a16:creationId xmlns:a16="http://schemas.microsoft.com/office/drawing/2014/main" id="{ED119C18-4B87-185E-9384-69A9CEB4482B}"/>
              </a:ext>
            </a:extLst>
          </p:cNvPr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 w="38100">
            <a:noFill/>
            <a:prstDash val="solid"/>
          </a:ln>
          <a:effectLst/>
        </p:spPr>
        <p:txBody>
          <a:bodyPr wrap="square" lIns="144000" tIns="144000" rIns="144000" bIns="144000" anchor="ctr" anchorCtr="0">
            <a:spAutoFit/>
          </a:bodyPr>
          <a:lstStyle/>
          <a:p>
            <a:pPr algn="ctr" defTabSz="609555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en-GB" sz="1100" b="1">
                <a:ea typeface="Calibri"/>
                <a:cs typeface="Arial" panose="020B0604020202020204" pitchFamily="34" charset="0"/>
                <a:sym typeface="Arial" panose="020B0604020202020204" pitchFamily="34" charset="0"/>
              </a:rPr>
              <a:t>Important:</a:t>
            </a:r>
          </a:p>
          <a:p>
            <a:pPr defTabSz="609555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en-GB" sz="1100">
                <a:ea typeface="Calibri"/>
                <a:cs typeface="Arial" panose="020B0604020202020204" pitchFamily="34" charset="0"/>
                <a:sym typeface="Arial" panose="020B0604020202020204" pitchFamily="34" charset="0"/>
              </a:rPr>
              <a:t>When transferring existing slides, always carry out all four steps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913DA6-BDCB-D3A3-44D9-43B66D64C9FB}"/>
              </a:ext>
            </a:extLst>
          </p:cNvPr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" name="Rechteck 11">
              <a:extLst>
                <a:ext uri="{FF2B5EF4-FFF2-40B4-BE49-F238E27FC236}">
                  <a16:creationId xmlns:a16="http://schemas.microsoft.com/office/drawing/2014/main" id="{2786B73F-B8C5-6D9A-5242-076CBC2CDC86}"/>
                </a:ext>
              </a:extLst>
            </p:cNvPr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BA93B92-6A2E-D4FF-5C92-8D154DBDA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0A83831-119F-D496-C3A7-D6D87FC21A56}"/>
                </a:ext>
              </a:extLst>
            </p:cNvPr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E75FD5E-4E97-F443-9705-1D724BDDA8CA}"/>
                </a:ext>
              </a:extLst>
            </p:cNvPr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D25C27C-65CA-2D1C-4D05-9F62A4390A8A}"/>
              </a:ext>
            </a:extLst>
          </p:cNvPr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24" name="Rechteck 11">
              <a:extLst>
                <a:ext uri="{FF2B5EF4-FFF2-40B4-BE49-F238E27FC236}">
                  <a16:creationId xmlns:a16="http://schemas.microsoft.com/office/drawing/2014/main" id="{53732B19-7779-46D6-05DC-60D449D6CD5B}"/>
                </a:ext>
              </a:extLst>
            </p:cNvPr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226714" sx="101000" sy="101000" algn="ctr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t"/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DB1F94D9-2754-8E35-D7A2-EF3BEE5FBB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4695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8BFEB46-9CBE-7920-EE9D-A816C91F6324}"/>
                </a:ext>
              </a:extLst>
            </p:cNvPr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C2C9070-4AA8-A941-42F4-40B4B0DD0616}"/>
                </a:ext>
              </a:extLst>
            </p:cNvPr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7A6D1A-1C77-31FE-616D-A7F91DAD90A5}"/>
                </a:ext>
              </a:extLst>
            </p:cNvPr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793"/>
              </a:srgbClr>
            </a:solidFill>
            <a:ln w="28575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6936203"/>
      </p:ext>
    </p:extLst>
  </p:cSld>
  <p:clrMapOvr>
    <a:masterClrMapping/>
  </p:clrMapOvr>
  <p:transition spd="slow">
    <p:push dir="u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01EC3D-F2BF-F4E4-68D3-1A1D4A5523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Approac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FC9526-F6CE-66B7-D827-0F2D2573D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ange icon colou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0E2075C-0C32-910D-C79B-D0AF1EB517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Notes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802A78FC-D33B-240F-7A98-909975BB87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2160585"/>
            <a:ext cx="5447999" cy="4267201"/>
          </a:xfrm>
          <a:solidFill>
            <a:schemeClr val="accent6"/>
          </a:solidFill>
        </p:spPr>
        <p:txBody>
          <a:bodyPr lIns="216000" tIns="180000" rIns="216000"/>
          <a:lstStyle/>
          <a:p>
            <a:pPr marL="342900" indent="-342900">
              <a:buFont typeface="+mj-lt"/>
              <a:buAutoNum type="arabicPeriod"/>
            </a:pPr>
            <a:r>
              <a:rPr lang="en-GB"/>
              <a:t>Select icon</a:t>
            </a:r>
          </a:p>
          <a:p>
            <a:pPr marL="342900" indent="-342900">
              <a:buFont typeface="+mj-lt"/>
              <a:buAutoNum type="arabicPeriod"/>
            </a:pPr>
            <a:r>
              <a:rPr lang="en-GB"/>
              <a:t>In the tab «Graphics Format» under «Graphics Styles», use </a:t>
            </a:r>
            <a:r>
              <a:rPr lang="en-GB" b="1"/>
              <a:t>«Graphics Fill»</a:t>
            </a:r>
            <a:r>
              <a:rPr lang="en-GB"/>
              <a:t> to change the colour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AE39F739-CCD2-DE8C-EAAA-EB623CE052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2000" y="2160587"/>
            <a:ext cx="5449788" cy="4267201"/>
          </a:xfrm>
          <a:solidFill>
            <a:schemeClr val="accent6"/>
          </a:solidFill>
        </p:spPr>
        <p:txBody>
          <a:bodyPr lIns="216000" tIns="180000" rIns="216000"/>
          <a:lstStyle/>
          <a:p>
            <a:r>
              <a:rPr lang="en-GB"/>
              <a:t>For some icons, the colour </a:t>
            </a:r>
            <a:br>
              <a:rPr lang="en-GB"/>
            </a:br>
            <a:r>
              <a:rPr lang="en-GB"/>
              <a:t>can be changed by using </a:t>
            </a:r>
            <a:br>
              <a:rPr lang="en-GB"/>
            </a:br>
            <a:r>
              <a:rPr lang="en-GB" b="1"/>
              <a:t>«Graphics Outline»</a:t>
            </a:r>
            <a:r>
              <a:rPr lang="en-GB"/>
              <a:t> instead </a:t>
            </a:r>
            <a:br>
              <a:rPr lang="en-GB"/>
            </a:br>
            <a:r>
              <a:rPr lang="en-GB"/>
              <a:t>of «Graphics Fill».</a:t>
            </a:r>
          </a:p>
          <a:p>
            <a:r>
              <a:rPr lang="en-GB"/>
              <a:t>The colour cannot be changed </a:t>
            </a:r>
            <a:br>
              <a:rPr lang="en-GB"/>
            </a:br>
            <a:r>
              <a:rPr lang="en-GB"/>
              <a:t>if an icon is inserted as a picture. </a:t>
            </a:r>
            <a:br>
              <a:rPr lang="en-GB"/>
            </a:br>
            <a:r>
              <a:rPr lang="en-GB"/>
              <a:t>In this case, after selecting the </a:t>
            </a:r>
            <a:br>
              <a:rPr lang="en-GB"/>
            </a:br>
            <a:r>
              <a:rPr lang="en-GB"/>
              <a:t>icon, the tab </a:t>
            </a:r>
            <a:r>
              <a:rPr lang="en-GB" b="1"/>
              <a:t>«Picture Format»</a:t>
            </a:r>
            <a:r>
              <a:rPr lang="en-GB"/>
              <a:t> </a:t>
            </a:r>
            <a:br>
              <a:rPr lang="en-GB"/>
            </a:br>
            <a:r>
              <a:rPr lang="en-GB"/>
              <a:t>appears instead of «Graphics Format».</a:t>
            </a:r>
          </a:p>
          <a:p>
            <a:r>
              <a:rPr lang="en-GB"/>
              <a:t>Best vector file format for icons: *.sv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897B76-0E98-2339-FE2E-504C7E2F6207}"/>
              </a:ext>
            </a:extLst>
          </p:cNvPr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98D7727-1FFC-8D99-661F-EA5AB9D74809}"/>
                </a:ext>
              </a:extLst>
            </p:cNvPr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E9E39E3-D0E7-62EB-6915-BC6FAFEA03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04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</p:spPr>
        </p:pic>
        <p:sp>
          <p:nvSpPr>
            <p:cNvPr id="25" name="Ellipse 25">
              <a:extLst>
                <a:ext uri="{FF2B5EF4-FFF2-40B4-BE49-F238E27FC236}">
                  <a16:creationId xmlns:a16="http://schemas.microsoft.com/office/drawing/2014/main" id="{FF6D0699-C766-BC4F-05D6-A92A5407EAD4}"/>
                </a:ext>
              </a:extLst>
            </p:cNvPr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tx2">
                <a:alpha val="15000"/>
              </a:schemeClr>
            </a:solidFill>
            <a:ln w="28575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0197D776-54A7-AD7E-F90F-3B5F0A03BD4E}"/>
                </a:ext>
              </a:extLst>
            </p:cNvPr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D86877-F017-144F-CB0E-56CFF4A109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</p:spPr>
        </p:pic>
        <p:sp>
          <p:nvSpPr>
            <p:cNvPr id="32" name="Ellipse 25">
              <a:extLst>
                <a:ext uri="{FF2B5EF4-FFF2-40B4-BE49-F238E27FC236}">
                  <a16:creationId xmlns:a16="http://schemas.microsoft.com/office/drawing/2014/main" id="{8E23C852-01D4-FF3C-7C96-04D4B291C836}"/>
                </a:ext>
              </a:extLst>
            </p:cNvPr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0E31800-4D32-D6E4-6368-C730A562DE29}"/>
              </a:ext>
            </a:extLst>
          </p:cNvPr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0E2EB-4CFD-D5A8-6E1C-B13588345FA0}"/>
                </a:ext>
              </a:extLst>
            </p:cNvPr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8580E33-6148-7528-9E8C-89E58397D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2045" t="20073" r="46617" b="36910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</p:spPr>
        </p:pic>
        <p:sp>
          <p:nvSpPr>
            <p:cNvPr id="38" name="Ellipse 25">
              <a:extLst>
                <a:ext uri="{FF2B5EF4-FFF2-40B4-BE49-F238E27FC236}">
                  <a16:creationId xmlns:a16="http://schemas.microsoft.com/office/drawing/2014/main" id="{23882F23-5786-DCF9-3099-F38F3F63018A}"/>
                </a:ext>
              </a:extLst>
            </p:cNvPr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5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10B5466-D6DA-68EF-9AC0-A98CBE1DCD43}"/>
              </a:ext>
            </a:extLst>
          </p:cNvPr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08EB9D1-3663-A72F-18BB-E836415D159A}"/>
                </a:ext>
              </a:extLst>
            </p:cNvPr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C644038-51A6-DCEC-1F09-5CA82C6F4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1950040"/>
      </p:ext>
    </p:extLst>
  </p:cSld>
  <p:clrMapOvr>
    <a:masterClrMapping/>
  </p:clrMapOvr>
  <p:transition spd="slow">
    <p:push dir="u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4C674D-869D-8F0F-0AD9-DFE4BF1E1B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4C674D-869D-8F0F-0AD9-DFE4BF1E1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8">
            <a:extLst>
              <a:ext uri="{FF2B5EF4-FFF2-40B4-BE49-F238E27FC236}">
                <a16:creationId xmlns:a16="http://schemas.microsoft.com/office/drawing/2014/main" id="{05A8A77E-9148-3872-0E0C-963DC02F6E44}"/>
              </a:ext>
            </a:extLst>
          </p:cNvPr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40977D7-62B4-D1CD-1F9C-CBEE938CDDF8}"/>
              </a:ext>
            </a:extLst>
          </p:cNvPr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62" name="Picture Placeholder 7">
              <a:extLst>
                <a:ext uri="{FF2B5EF4-FFF2-40B4-BE49-F238E27FC236}">
                  <a16:creationId xmlns:a16="http://schemas.microsoft.com/office/drawing/2014/main" id="{B2AEB8FB-8D76-8D04-D830-3C4B5C77A3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9896" t="5647" r="14925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ln w="19050">
              <a:noFill/>
            </a:ln>
            <a:effectLst>
              <a:outerShdw blurRad="177800" dist="101600" dir="2700000" algn="tl" rotWithShape="0">
                <a:prstClr val="black">
                  <a:alpha val="22000"/>
                </a:prstClr>
              </a:outerShdw>
            </a:effectLst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E9A67F6-0B55-59CD-054D-D1F517A33F0D}"/>
                </a:ext>
              </a:extLst>
            </p:cNvPr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tx1"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1" name="Rectangle 8">
            <a:extLst>
              <a:ext uri="{FF2B5EF4-FFF2-40B4-BE49-F238E27FC236}">
                <a16:creationId xmlns:a16="http://schemas.microsoft.com/office/drawing/2014/main" id="{9D2991C1-5A52-5A93-69AA-3A6112776AB8}"/>
              </a:ext>
            </a:extLst>
          </p:cNvPr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F737176-E122-A404-C048-B1CECC1B342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ln w="19050">
            <a:noFill/>
          </a:ln>
          <a:effectLst>
            <a:outerShdw blurRad="177800" dist="101600" dir="2700000" algn="tl" rotWithShape="0">
              <a:prstClr val="black">
                <a:alpha val="22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F8E9DAF-3637-DD8C-3DBE-311781B76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Insert image into placeholder</a:t>
            </a:r>
          </a:p>
        </p:txBody>
      </p:sp>
      <p:sp>
        <p:nvSpPr>
          <p:cNvPr id="14" name="Textfeld 46">
            <a:extLst>
              <a:ext uri="{FF2B5EF4-FFF2-40B4-BE49-F238E27FC236}">
                <a16:creationId xmlns:a16="http://schemas.microsoft.com/office/drawing/2014/main" id="{54DF91C2-B49A-AA10-5018-4BB5A3454847}"/>
              </a:ext>
            </a:extLst>
          </p:cNvPr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de-DE"/>
            </a:defPPr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671344"/>
              </a:buClr>
              <a:buSzPct val="100000"/>
              <a:buFont typeface="+mj-lt"/>
              <a:buAutoNum type="arabicPeriod"/>
              <a:defRPr sz="1200">
                <a:cs typeface="Arial" panose="020B0604020202020204" pitchFamily="34" charset="0"/>
              </a:defRPr>
            </a:lvl1pPr>
            <a:lvl2pPr marL="360000" lvl="1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 sz="1400">
                <a:cs typeface="Arial" panose="020B0604020202020204" pitchFamily="34" charset="0"/>
              </a:defRPr>
            </a:lvl2pPr>
            <a:lvl3pPr marL="540000" lvl="2" indent="-17938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cs typeface="Arial" panose="020B0604020202020204" pitchFamily="34" charset="0"/>
              </a:defRPr>
            </a:lvl3pPr>
            <a:lvl4pPr marL="719138" lvl="3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>
                <a:cs typeface="Arial" panose="020B0604020202020204" pitchFamily="34" charset="0"/>
              </a:defRPr>
            </a:lvl4pPr>
            <a:lvl5pPr marL="180000" lvl="4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tabLst/>
              <a:defRPr sz="1400" b="0">
                <a:cs typeface="Arial" panose="020B0604020202020204" pitchFamily="34" charset="0"/>
              </a:defRPr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defRPr sz="1400" b="1">
                <a:cs typeface="Arial" panose="020B0604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+mj-lt"/>
              <a:buNone/>
              <a:defRPr b="0">
                <a:solidFill>
                  <a:schemeClr val="tx2"/>
                </a:solidFill>
                <a:cs typeface="Arial" panose="020B0604020202020204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None/>
              <a:defRPr sz="1400">
                <a:cs typeface="Arial" panose="020B0604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b="0"/>
            </a:lvl9pPr>
          </a:lstStyle>
          <a:p>
            <a:pPr lvl="5" defTabSz="914377">
              <a:spcAft>
                <a:spcPts val="1067"/>
              </a:spcAft>
              <a:buClr>
                <a:srgbClr val="678FB0"/>
              </a:buClr>
              <a:defRPr/>
            </a:pPr>
            <a:r>
              <a:rPr lang="en-GB" dirty="0">
                <a:sym typeface="Arial" panose="020B0604020202020204" pitchFamily="34" charset="0"/>
              </a:rPr>
              <a:t>Insert image from external sourc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Click on the image            icon, select image from </a:t>
            </a:r>
            <a:r>
              <a:rPr lang="en-GB" sz="1400" dirty="0" err="1">
                <a:sym typeface="Arial" panose="020B0604020202020204" pitchFamily="34" charset="0"/>
              </a:rPr>
              <a:t>Sharepoint</a:t>
            </a:r>
            <a:r>
              <a:rPr lang="en-GB" sz="1400" dirty="0">
                <a:sym typeface="Arial" panose="020B0604020202020204" pitchFamily="34" charset="0"/>
              </a:rPr>
              <a:t> or other sourc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The bbv image library is here locally located: </a:t>
            </a:r>
            <a:r>
              <a:rPr lang="en-GB" sz="1400" i="1" dirty="0">
                <a:sym typeface="Arial" panose="020B0604020202020204" pitchFamily="34" charset="0"/>
                <a:hlinkClick r:id="rId7" action="ppaction://hlinkfile"/>
              </a:rPr>
              <a:t>C:\Users\Public\bbv_templates\Marketing\PPT-Bibliotheken\Bilder-Bibliothek</a:t>
            </a:r>
            <a:endParaRPr lang="en-GB" sz="1400" i="1" dirty="0">
              <a:sym typeface="Arial" panose="020B0604020202020204" pitchFamily="34" charset="0"/>
            </a:endParaRP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ym typeface="Arial" panose="020B0604020202020204" pitchFamily="34" charset="0"/>
              </a:rPr>
              <a:t>Or: copy image from external source with </a:t>
            </a:r>
            <a:r>
              <a:rPr lang="en-GB" sz="1400" dirty="0" err="1">
                <a:sym typeface="Arial" panose="020B0604020202020204" pitchFamily="34" charset="0"/>
              </a:rPr>
              <a:t>Ctrl+C</a:t>
            </a:r>
            <a:r>
              <a:rPr lang="en-GB" sz="1400" dirty="0">
                <a:sym typeface="Arial" panose="020B0604020202020204" pitchFamily="34" charset="0"/>
              </a:rPr>
              <a:t>, select the placeholder, then paste with </a:t>
            </a:r>
            <a:r>
              <a:rPr lang="en-GB" sz="1400" dirty="0" err="1">
                <a:sym typeface="Arial" panose="020B0604020202020204" pitchFamily="34" charset="0"/>
              </a:rPr>
              <a:t>Ctrl+V</a:t>
            </a:r>
            <a:endParaRPr lang="en-GB" sz="1400" dirty="0">
              <a:sym typeface="Arial" panose="020B0604020202020204" pitchFamily="34" charset="0"/>
            </a:endParaRPr>
          </a:p>
        </p:txBody>
      </p:sp>
      <p:sp>
        <p:nvSpPr>
          <p:cNvPr id="15" name="Textfeld 46">
            <a:extLst>
              <a:ext uri="{FF2B5EF4-FFF2-40B4-BE49-F238E27FC236}">
                <a16:creationId xmlns:a16="http://schemas.microsoft.com/office/drawing/2014/main" id="{862FDC31-4259-0DB9-F452-0C5EA5FBDC82}"/>
              </a:ext>
            </a:extLst>
          </p:cNvPr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671344"/>
              </a:buClr>
              <a:buSzPct val="100000"/>
              <a:buFont typeface="+mj-lt"/>
              <a:buAutoNum type="arabicPeriod"/>
              <a:defRPr lang="de-DE" sz="1400">
                <a:cs typeface="Arial" panose="020B0604020202020204" pitchFamily="34" charset="0"/>
              </a:defRPr>
            </a:lvl1pPr>
            <a:lvl2pPr marL="360000" lvl="1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 lang="de-DE" sz="1400">
                <a:cs typeface="Arial" panose="020B0604020202020204" pitchFamily="34" charset="0"/>
              </a:defRPr>
            </a:lvl2pPr>
            <a:lvl3pPr marL="540000" lvl="2" indent="-17938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de-DE" sz="1400">
                <a:cs typeface="Arial" panose="020B0604020202020204" pitchFamily="34" charset="0"/>
              </a:defRPr>
            </a:lvl3pPr>
            <a:lvl4pPr marL="719138" lvl="3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de-DE" sz="1400">
                <a:cs typeface="Arial" panose="020B0604020202020204" pitchFamily="34" charset="0"/>
              </a:defRPr>
            </a:lvl4pPr>
            <a:lvl5pPr marL="180000" lvl="4" indent="-18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tabLst/>
              <a:defRPr lang="de-DE" sz="1400" b="0">
                <a:cs typeface="Arial" panose="020B0604020202020204" pitchFamily="34" charset="0"/>
              </a:defRPr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Tx/>
              <a:buNone/>
              <a:defRPr lang="de-DE" sz="1400" b="1">
                <a:cs typeface="Arial" panose="020B0604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+mj-lt"/>
              <a:buNone/>
              <a:defRPr lang="de-DE" b="0">
                <a:solidFill>
                  <a:schemeClr val="tx2"/>
                </a:solidFill>
                <a:cs typeface="Arial" panose="020B0604020202020204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+mj-lt"/>
              <a:buNone/>
              <a:defRPr lang="de-DE" sz="1400">
                <a:cs typeface="Arial" panose="020B06040202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None/>
              <a:defRPr lang="de-DE" sz="1400" b="0" dirty="0"/>
            </a:lvl9pPr>
          </a:lstStyle>
          <a:p>
            <a:pPr marL="0" indent="0" defTabSz="914377">
              <a:spcAft>
                <a:spcPts val="1067"/>
              </a:spcAft>
              <a:buClr>
                <a:srgbClr val="E30613"/>
              </a:buClr>
              <a:buNone/>
              <a:defRPr/>
            </a:pPr>
            <a:r>
              <a:rPr lang="en-GB" b="1">
                <a:sym typeface="Arial" panose="020B0604020202020204" pitchFamily="34" charset="0"/>
              </a:rPr>
              <a:t>Adjust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Select the image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Click in the tab «Picture Format» on «Crop»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Adjust the image composition by moving the image 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Resize the image by clicking and dragging the outer circles.</a:t>
            </a:r>
          </a:p>
          <a:p>
            <a:pPr marL="216000" indent="-216000" defTabSz="914377">
              <a:spcAft>
                <a:spcPts val="1067"/>
              </a:spcAft>
              <a:buClr>
                <a:schemeClr val="tx1"/>
              </a:buClr>
              <a:defRPr/>
            </a:pPr>
            <a:r>
              <a:rPr lang="en-GB">
                <a:sym typeface="Arial" panose="020B0604020202020204" pitchFamily="34" charset="0"/>
              </a:rPr>
              <a:t>Click again on «Crop» to finish the adjustments</a:t>
            </a:r>
          </a:p>
        </p:txBody>
      </p:sp>
      <p:cxnSp>
        <p:nvCxnSpPr>
          <p:cNvPr id="17" name="Gerade Verbindung mit Pfeil 94">
            <a:extLst>
              <a:ext uri="{FF2B5EF4-FFF2-40B4-BE49-F238E27FC236}">
                <a16:creationId xmlns:a16="http://schemas.microsoft.com/office/drawing/2014/main" id="{A511B286-1545-FD7B-DCB7-8B5442EC52AF}"/>
              </a:ext>
            </a:extLst>
          </p:cNvPr>
          <p:cNvCxnSpPr>
            <a:cxnSpLocks/>
          </p:cNvCxnSpPr>
          <p:nvPr/>
        </p:nvCxnSpPr>
        <p:spPr bwMode="auto">
          <a:xfrm>
            <a:off x="3018503" y="4570185"/>
            <a:ext cx="3195665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41">
            <a:extLst>
              <a:ext uri="{FF2B5EF4-FFF2-40B4-BE49-F238E27FC236}">
                <a16:creationId xmlns:a16="http://schemas.microsoft.com/office/drawing/2014/main" id="{04350079-E221-80CA-4C62-EAC0DE598603}"/>
              </a:ext>
            </a:extLst>
          </p:cNvPr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grpSp>
        <p:nvGrpSpPr>
          <p:cNvPr id="21" name="Gruppieren 43">
            <a:extLst>
              <a:ext uri="{FF2B5EF4-FFF2-40B4-BE49-F238E27FC236}">
                <a16:creationId xmlns:a16="http://schemas.microsoft.com/office/drawing/2014/main" id="{FEDD1F48-77E8-24A4-19AC-27B41C28AC56}"/>
              </a:ext>
            </a:extLst>
          </p:cNvPr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2" name="Rechteck 41">
              <a:extLst>
                <a:ext uri="{FF2B5EF4-FFF2-40B4-BE49-F238E27FC236}">
                  <a16:creationId xmlns:a16="http://schemas.microsoft.com/office/drawing/2014/main" id="{935C84EF-CCEE-F4E5-D2A8-25D0334B38ED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Rechteck 42">
              <a:extLst>
                <a:ext uri="{FF2B5EF4-FFF2-40B4-BE49-F238E27FC236}">
                  <a16:creationId xmlns:a16="http://schemas.microsoft.com/office/drawing/2014/main" id="{C461557E-615C-B030-2D9D-8426B78A7598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ieren 44">
            <a:extLst>
              <a:ext uri="{FF2B5EF4-FFF2-40B4-BE49-F238E27FC236}">
                <a16:creationId xmlns:a16="http://schemas.microsoft.com/office/drawing/2014/main" id="{F569182A-8730-F2B4-5E3F-C669F4F2BC26}"/>
              </a:ext>
            </a:extLst>
          </p:cNvPr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5" name="Rechteck 45">
              <a:extLst>
                <a:ext uri="{FF2B5EF4-FFF2-40B4-BE49-F238E27FC236}">
                  <a16:creationId xmlns:a16="http://schemas.microsoft.com/office/drawing/2014/main" id="{12A51E69-0BC7-4668-AAA7-5166EBAC8197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hteck 46">
              <a:extLst>
                <a:ext uri="{FF2B5EF4-FFF2-40B4-BE49-F238E27FC236}">
                  <a16:creationId xmlns:a16="http://schemas.microsoft.com/office/drawing/2014/main" id="{F96A959A-12BF-31B6-7ACA-7F4870A4D216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ieren 47">
            <a:extLst>
              <a:ext uri="{FF2B5EF4-FFF2-40B4-BE49-F238E27FC236}">
                <a16:creationId xmlns:a16="http://schemas.microsoft.com/office/drawing/2014/main" id="{4815BCDE-65AD-6865-FB4E-ADB47E589B48}"/>
              </a:ext>
            </a:extLst>
          </p:cNvPr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28" name="Rechteck 48">
              <a:extLst>
                <a:ext uri="{FF2B5EF4-FFF2-40B4-BE49-F238E27FC236}">
                  <a16:creationId xmlns:a16="http://schemas.microsoft.com/office/drawing/2014/main" id="{707BA450-EBC4-4895-9A9D-1F9EA6C97350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Rechteck 49">
              <a:extLst>
                <a:ext uri="{FF2B5EF4-FFF2-40B4-BE49-F238E27FC236}">
                  <a16:creationId xmlns:a16="http://schemas.microsoft.com/office/drawing/2014/main" id="{5A6B916A-E479-CBC4-072C-709A43DBA3E6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0" name="Gruppieren 50">
            <a:extLst>
              <a:ext uri="{FF2B5EF4-FFF2-40B4-BE49-F238E27FC236}">
                <a16:creationId xmlns:a16="http://schemas.microsoft.com/office/drawing/2014/main" id="{80E5336F-4351-6773-C4B7-2DE7721227AD}"/>
              </a:ext>
            </a:extLst>
          </p:cNvPr>
          <p:cNvGrpSpPr/>
          <p:nvPr/>
        </p:nvGrpSpPr>
        <p:grpSpPr>
          <a:xfrm rot="16200000">
            <a:off x="3525807" y="5985904"/>
            <a:ext cx="143313" cy="143313"/>
            <a:chOff x="4070350" y="4368475"/>
            <a:chExt cx="143313" cy="143313"/>
          </a:xfrm>
          <a:solidFill>
            <a:srgbClr val="F39800"/>
          </a:solidFill>
        </p:grpSpPr>
        <p:sp>
          <p:nvSpPr>
            <p:cNvPr id="31" name="Rechteck 51">
              <a:extLst>
                <a:ext uri="{FF2B5EF4-FFF2-40B4-BE49-F238E27FC236}">
                  <a16:creationId xmlns:a16="http://schemas.microsoft.com/office/drawing/2014/main" id="{AA8579B9-03EF-D5BA-1458-53519F29CAD6}"/>
                </a:ext>
              </a:extLst>
            </p:cNvPr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Rechteck 52">
              <a:extLst>
                <a:ext uri="{FF2B5EF4-FFF2-40B4-BE49-F238E27FC236}">
                  <a16:creationId xmlns:a16="http://schemas.microsoft.com/office/drawing/2014/main" id="{47AF9317-ACAA-C1D2-BDBF-D07FB4FF9A41}"/>
                </a:ext>
              </a:extLst>
            </p:cNvPr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>
              <a:noAutofit/>
            </a:bodyPr>
            <a:lstStyle/>
            <a:p>
              <a:pPr algn="ctr"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3" name="Rechteck 53">
            <a:extLst>
              <a:ext uri="{FF2B5EF4-FFF2-40B4-BE49-F238E27FC236}">
                <a16:creationId xmlns:a16="http://schemas.microsoft.com/office/drawing/2014/main" id="{1DFB1046-F131-09B7-E7D6-2DBCC79E8D5B}"/>
              </a:ext>
            </a:extLst>
          </p:cNvPr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4" name="Rechteck 54">
            <a:extLst>
              <a:ext uri="{FF2B5EF4-FFF2-40B4-BE49-F238E27FC236}">
                <a16:creationId xmlns:a16="http://schemas.microsoft.com/office/drawing/2014/main" id="{2DB7FF71-A990-8611-DE16-2E824A3831A3}"/>
              </a:ext>
            </a:extLst>
          </p:cNvPr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5" name="Ellipse 55">
            <a:extLst>
              <a:ext uri="{FF2B5EF4-FFF2-40B4-BE49-F238E27FC236}">
                <a16:creationId xmlns:a16="http://schemas.microsoft.com/office/drawing/2014/main" id="{6758CADA-612F-FCC4-2D51-D9F6E95D3209}"/>
              </a:ext>
            </a:extLst>
          </p:cNvPr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6" name="Ellipse 56">
            <a:extLst>
              <a:ext uri="{FF2B5EF4-FFF2-40B4-BE49-F238E27FC236}">
                <a16:creationId xmlns:a16="http://schemas.microsoft.com/office/drawing/2014/main" id="{35181343-5E20-8439-5F73-E3545FCF4FA6}"/>
              </a:ext>
            </a:extLst>
          </p:cNvPr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7" name="Ellipse 57">
            <a:extLst>
              <a:ext uri="{FF2B5EF4-FFF2-40B4-BE49-F238E27FC236}">
                <a16:creationId xmlns:a16="http://schemas.microsoft.com/office/drawing/2014/main" id="{F50F96A3-5203-0EF1-81E2-F8821B4E8B0E}"/>
              </a:ext>
            </a:extLst>
          </p:cNvPr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8" name="Ellipse 58">
            <a:extLst>
              <a:ext uri="{FF2B5EF4-FFF2-40B4-BE49-F238E27FC236}">
                <a16:creationId xmlns:a16="http://schemas.microsoft.com/office/drawing/2014/main" id="{D19F1F1C-F0CC-1C4A-EF90-55EED0CA33F7}"/>
              </a:ext>
            </a:extLst>
          </p:cNvPr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39" name="Ellipse 59">
            <a:extLst>
              <a:ext uri="{FF2B5EF4-FFF2-40B4-BE49-F238E27FC236}">
                <a16:creationId xmlns:a16="http://schemas.microsoft.com/office/drawing/2014/main" id="{984794C3-3E3A-DB6C-1AA1-8B51A68BAF5F}"/>
              </a:ext>
            </a:extLst>
          </p:cNvPr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0" name="Ellipse 60">
            <a:extLst>
              <a:ext uri="{FF2B5EF4-FFF2-40B4-BE49-F238E27FC236}">
                <a16:creationId xmlns:a16="http://schemas.microsoft.com/office/drawing/2014/main" id="{1CA8CEF2-332A-DB24-B67D-3C35D900A07A}"/>
              </a:ext>
            </a:extLst>
          </p:cNvPr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1" name="Rechteck 61">
            <a:extLst>
              <a:ext uri="{FF2B5EF4-FFF2-40B4-BE49-F238E27FC236}">
                <a16:creationId xmlns:a16="http://schemas.microsoft.com/office/drawing/2014/main" id="{F25F55EB-C6D4-0D06-4B99-C911BC3291D1}"/>
              </a:ext>
            </a:extLst>
          </p:cNvPr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sp>
        <p:nvSpPr>
          <p:cNvPr id="42" name="Rechteck 62">
            <a:extLst>
              <a:ext uri="{FF2B5EF4-FFF2-40B4-BE49-F238E27FC236}">
                <a16:creationId xmlns:a16="http://schemas.microsoft.com/office/drawing/2014/main" id="{2581ADA8-6413-7BFA-A150-3EE8C6C0EE32}"/>
              </a:ext>
            </a:extLst>
          </p:cNvPr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 defTabSz="914377">
              <a:defRPr/>
            </a:pPr>
            <a:endParaRPr lang="en-GB" sz="1467">
              <a:solidFill>
                <a:srgbClr val="6DB7C2"/>
              </a:solidFill>
              <a:cs typeface="Arial" panose="020B0604020202020204" pitchFamily="34" charset="0"/>
            </a:endParaRPr>
          </a:p>
        </p:txBody>
      </p:sp>
      <p:grpSp>
        <p:nvGrpSpPr>
          <p:cNvPr id="43" name="Gruppieren 73">
            <a:extLst>
              <a:ext uri="{FF2B5EF4-FFF2-40B4-BE49-F238E27FC236}">
                <a16:creationId xmlns:a16="http://schemas.microsoft.com/office/drawing/2014/main" id="{68641A5E-BF48-CDFB-8057-9D6A64418F22}"/>
              </a:ext>
            </a:extLst>
          </p:cNvPr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44" name="Gruppieren 69">
              <a:extLst>
                <a:ext uri="{FF2B5EF4-FFF2-40B4-BE49-F238E27FC236}">
                  <a16:creationId xmlns:a16="http://schemas.microsoft.com/office/drawing/2014/main" id="{2DE4F716-A6CC-5BA0-38FA-493F22C898D6}"/>
                </a:ext>
              </a:extLst>
            </p:cNvPr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48" name="Grafik 65" descr="Pfeil nach oben mit einfarbiger Füllung">
                <a:extLst>
                  <a:ext uri="{FF2B5EF4-FFF2-40B4-BE49-F238E27FC236}">
                    <a16:creationId xmlns:a16="http://schemas.microsoft.com/office/drawing/2014/main" id="{6D0CE4AC-3380-3D04-BE05-707788879C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9" name="Grafik 68" descr="Pfeil nach oben mit einfarbiger Füllung">
                <a:extLst>
                  <a:ext uri="{FF2B5EF4-FFF2-40B4-BE49-F238E27FC236}">
                    <a16:creationId xmlns:a16="http://schemas.microsoft.com/office/drawing/2014/main" id="{A3015999-1C81-B164-3439-F7B043FBAC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5638800" y="3270168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45" name="Gruppieren 70">
              <a:extLst>
                <a:ext uri="{FF2B5EF4-FFF2-40B4-BE49-F238E27FC236}">
                  <a16:creationId xmlns:a16="http://schemas.microsoft.com/office/drawing/2014/main" id="{F55D330B-C908-B456-A2E1-2691BDEAC025}"/>
                </a:ext>
              </a:extLst>
            </p:cNvPr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46" name="Grafik 71" descr="Pfeil nach oben mit einfarbiger Füllung">
                <a:extLst>
                  <a:ext uri="{FF2B5EF4-FFF2-40B4-BE49-F238E27FC236}">
                    <a16:creationId xmlns:a16="http://schemas.microsoft.com/office/drawing/2014/main" id="{C218EF49-54D9-4428-FEDC-DC2CC8D0BF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47" name="Grafik 72" descr="Pfeil nach oben mit einfarbiger Füllung">
                <a:extLst>
                  <a:ext uri="{FF2B5EF4-FFF2-40B4-BE49-F238E27FC236}">
                    <a16:creationId xmlns:a16="http://schemas.microsoft.com/office/drawing/2014/main" id="{B5B38DE0-2EC5-29F5-C782-3ABEBD77E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5638800" y="3270168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E16107A-AB1F-D5FC-DA73-54D1223E3EEB}"/>
              </a:ext>
            </a:extLst>
          </p:cNvPr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44D660B-CE66-7953-8A4A-9820259A1871}"/>
                </a:ext>
              </a:extLst>
            </p:cNvPr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1BA502CB-C617-D999-54FA-FBCEC53FC8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94A1E54D-43DC-7E62-44A8-C32086140F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</p:spPr>
        </p:pic>
        <p:sp>
          <p:nvSpPr>
            <p:cNvPr id="13" name="Ellipse 25">
              <a:extLst>
                <a:ext uri="{FF2B5EF4-FFF2-40B4-BE49-F238E27FC236}">
                  <a16:creationId xmlns:a16="http://schemas.microsoft.com/office/drawing/2014/main" id="{0E5EF97D-4433-BBB2-4F42-4BF2F509E68A}"/>
                </a:ext>
              </a:extLst>
            </p:cNvPr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" name="Ellipse 25">
              <a:extLst>
                <a:ext uri="{FF2B5EF4-FFF2-40B4-BE49-F238E27FC236}">
                  <a16:creationId xmlns:a16="http://schemas.microsoft.com/office/drawing/2014/main" id="{0CECC691-DF93-B1BE-EFF2-FB3CE6DEAEDD}"/>
                </a:ext>
              </a:extLst>
            </p:cNvPr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defRPr/>
              </a:pPr>
              <a:endParaRPr lang="en-GB" sz="1467">
                <a:solidFill>
                  <a:srgbClr val="6DB7C2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8447CBC-A276-12AE-E95A-A3DE5A077712}"/>
              </a:ext>
            </a:extLst>
          </p:cNvPr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52" name="Gerader Verbinder 50">
              <a:extLst>
                <a:ext uri="{FF2B5EF4-FFF2-40B4-BE49-F238E27FC236}">
                  <a16:creationId xmlns:a16="http://schemas.microsoft.com/office/drawing/2014/main" id="{05DED289-B22E-3812-15EE-13B8A5A37A5D}"/>
                </a:ext>
              </a:extLst>
            </p:cNvPr>
            <p:cNvCxnSpPr>
              <a:cxnSpLocks/>
            </p:cNvCxnSpPr>
            <p:nvPr/>
          </p:nvCxnSpPr>
          <p:spPr>
            <a:xfrm>
              <a:off x="6597549" y="2559187"/>
              <a:ext cx="197613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5">
              <a:extLst>
                <a:ext uri="{FF2B5EF4-FFF2-40B4-BE49-F238E27FC236}">
                  <a16:creationId xmlns:a16="http://schemas.microsoft.com/office/drawing/2014/main" id="{7CAE5EC2-6414-BB77-749B-F5F2167EF77C}"/>
                </a:ext>
              </a:extLst>
            </p:cNvPr>
            <p:cNvCxnSpPr>
              <a:cxnSpLocks/>
            </p:cNvCxnSpPr>
            <p:nvPr/>
          </p:nvCxnSpPr>
          <p:spPr>
            <a:xfrm>
              <a:off x="6597549" y="1520825"/>
              <a:ext cx="0" cy="207672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5" name="Gerade Verbindung mit Pfeil 94">
            <a:extLst>
              <a:ext uri="{FF2B5EF4-FFF2-40B4-BE49-F238E27FC236}">
                <a16:creationId xmlns:a16="http://schemas.microsoft.com/office/drawing/2014/main" id="{E84C9C02-2A67-B6DE-89BE-4378EBE1A5F6}"/>
              </a:ext>
            </a:extLst>
          </p:cNvPr>
          <p:cNvCxnSpPr>
            <a:cxnSpLocks/>
          </p:cNvCxnSpPr>
          <p:nvPr/>
        </p:nvCxnSpPr>
        <p:spPr bwMode="auto">
          <a:xfrm>
            <a:off x="4919271" y="5222470"/>
            <a:ext cx="1294897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Grafik 67" descr="Cursor mit einfarbiger Füllung">
            <a:extLst>
              <a:ext uri="{FF2B5EF4-FFF2-40B4-BE49-F238E27FC236}">
                <a16:creationId xmlns:a16="http://schemas.microsoft.com/office/drawing/2014/main" id="{CFC45C61-2C44-130D-242A-860DC8CA6C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81579" y="5159510"/>
            <a:ext cx="367089" cy="367089"/>
          </a:xfrm>
          <a:prstGeom prst="rect">
            <a:avLst/>
          </a:prstGeom>
        </p:spPr>
      </p:pic>
      <p:cxnSp>
        <p:nvCxnSpPr>
          <p:cNvPr id="61" name="Gerade Verbindung mit Pfeil 94">
            <a:extLst>
              <a:ext uri="{FF2B5EF4-FFF2-40B4-BE49-F238E27FC236}">
                <a16:creationId xmlns:a16="http://schemas.microsoft.com/office/drawing/2014/main" id="{C5A53C75-E973-47F2-4776-C367C93DC9C9}"/>
              </a:ext>
            </a:extLst>
          </p:cNvPr>
          <p:cNvCxnSpPr>
            <a:cxnSpLocks/>
          </p:cNvCxnSpPr>
          <p:nvPr/>
        </p:nvCxnSpPr>
        <p:spPr bwMode="auto">
          <a:xfrm>
            <a:off x="5860347" y="6204204"/>
            <a:ext cx="353821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FBDA76-6F55-0D0E-5B71-9DF26805617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342" y="1756560"/>
            <a:ext cx="2925826" cy="1643050"/>
          </a:xfrm>
          <a:prstGeom prst="rect">
            <a:avLst/>
          </a:prstGeom>
          <a:ln w="19050">
            <a:noFill/>
          </a:ln>
          <a:effectLst>
            <a:outerShdw blurRad="177800" dist="101600" dir="2700000" algn="tl" rotWithShape="0">
              <a:prstClr val="black">
                <a:alpha val="22000"/>
              </a:prstClr>
            </a:outerShdw>
          </a:effectLst>
        </p:spPr>
      </p:pic>
      <p:pic>
        <p:nvPicPr>
          <p:cNvPr id="18" name="Grafik 12">
            <a:extLst>
              <a:ext uri="{FF2B5EF4-FFF2-40B4-BE49-F238E27FC236}">
                <a16:creationId xmlns:a16="http://schemas.microsoft.com/office/drawing/2014/main" id="{6C1F0F9D-5AB0-57CB-AFDB-64856AE00006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 w="28575" cap="rnd">
            <a:noFill/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092A50-B800-4274-8F7B-39A891B73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80016" y="1752100"/>
            <a:ext cx="447566" cy="344281"/>
          </a:xfrm>
          <a:prstGeom prst="rect">
            <a:avLst/>
          </a:prstGeom>
        </p:spPr>
      </p:pic>
      <p:cxnSp>
        <p:nvCxnSpPr>
          <p:cNvPr id="16" name="Gerade Verbindung mit Pfeil 94">
            <a:extLst>
              <a:ext uri="{FF2B5EF4-FFF2-40B4-BE49-F238E27FC236}">
                <a16:creationId xmlns:a16="http://schemas.microsoft.com/office/drawing/2014/main" id="{4DFA2879-8341-D21D-04E0-E40198CB47C8}"/>
              </a:ext>
            </a:extLst>
          </p:cNvPr>
          <p:cNvCxnSpPr>
            <a:cxnSpLocks/>
          </p:cNvCxnSpPr>
          <p:nvPr/>
        </p:nvCxnSpPr>
        <p:spPr bwMode="auto">
          <a:xfrm>
            <a:off x="6214168" y="4740558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94">
            <a:extLst>
              <a:ext uri="{FF2B5EF4-FFF2-40B4-BE49-F238E27FC236}">
                <a16:creationId xmlns:a16="http://schemas.microsoft.com/office/drawing/2014/main" id="{EEE38C49-BAD9-EDDA-E4E9-52698530CED0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4570185"/>
            <a:ext cx="0" cy="170373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94">
            <a:extLst>
              <a:ext uri="{FF2B5EF4-FFF2-40B4-BE49-F238E27FC236}">
                <a16:creationId xmlns:a16="http://schemas.microsoft.com/office/drawing/2014/main" id="{3CC64D5E-349E-8240-9DE4-89257631F9B1}"/>
              </a:ext>
            </a:extLst>
          </p:cNvPr>
          <p:cNvCxnSpPr>
            <a:cxnSpLocks/>
          </p:cNvCxnSpPr>
          <p:nvPr/>
        </p:nvCxnSpPr>
        <p:spPr bwMode="auto">
          <a:xfrm>
            <a:off x="6214168" y="5087702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94">
            <a:extLst>
              <a:ext uri="{FF2B5EF4-FFF2-40B4-BE49-F238E27FC236}">
                <a16:creationId xmlns:a16="http://schemas.microsoft.com/office/drawing/2014/main" id="{1DE7FC3F-DB0D-D9D7-F5C4-172B9B3C8545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5087702"/>
            <a:ext cx="0" cy="134768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94">
            <a:extLst>
              <a:ext uri="{FF2B5EF4-FFF2-40B4-BE49-F238E27FC236}">
                <a16:creationId xmlns:a16="http://schemas.microsoft.com/office/drawing/2014/main" id="{82F0081C-8F76-53D9-6F86-2C6265B86B07}"/>
              </a:ext>
            </a:extLst>
          </p:cNvPr>
          <p:cNvCxnSpPr>
            <a:cxnSpLocks/>
          </p:cNvCxnSpPr>
          <p:nvPr/>
        </p:nvCxnSpPr>
        <p:spPr bwMode="auto">
          <a:xfrm>
            <a:off x="6214168" y="5450499"/>
            <a:ext cx="580994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94">
            <a:extLst>
              <a:ext uri="{FF2B5EF4-FFF2-40B4-BE49-F238E27FC236}">
                <a16:creationId xmlns:a16="http://schemas.microsoft.com/office/drawing/2014/main" id="{A36229C4-290B-51BE-6390-F3F2E02E4051}"/>
              </a:ext>
            </a:extLst>
          </p:cNvPr>
          <p:cNvCxnSpPr>
            <a:cxnSpLocks/>
          </p:cNvCxnSpPr>
          <p:nvPr/>
        </p:nvCxnSpPr>
        <p:spPr bwMode="auto">
          <a:xfrm flipV="1">
            <a:off x="6214168" y="5450499"/>
            <a:ext cx="0" cy="753705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6040473"/>
      </p:ext>
    </p:extLst>
  </p:cSld>
  <p:clrMapOvr>
    <a:masterClrMapping/>
  </p:clrMapOvr>
  <p:transition spd="slow">
    <p:push dir="u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46326DB-CB54-095D-4F7D-8B5DF9F93C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2115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46326DB-CB54-095D-4F7D-8B5DF9F93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BB7ABEA0-18EA-BDCC-D69D-B79E72C79A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47" t="8409" r="21861" b="23177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76F46B4C-6949-6A6E-AE55-128D6E9FBE2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47" t="8409" r="21861" b="23177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A379D13-300E-63A0-C653-764779FB6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noProof="0" dirty="0">
                <a:cs typeface="Arial" panose="020B0604020202020204" pitchFamily="34" charset="0"/>
              </a:rPr>
              <a:t>Insert image </a:t>
            </a:r>
            <a:r>
              <a:rPr lang="en-GB" noProof="0">
                <a:cs typeface="Arial" panose="020B0604020202020204" pitchFamily="34" charset="0"/>
              </a:rPr>
              <a:t>into mock-up </a:t>
            </a:r>
            <a:r>
              <a:rPr lang="en-GB" noProof="0" dirty="0">
                <a:cs typeface="Arial" panose="020B0604020202020204" pitchFamily="34" charset="0"/>
              </a:rPr>
              <a:t>screen (mobile/laptop)</a:t>
            </a:r>
          </a:p>
        </p:txBody>
      </p:sp>
      <p:cxnSp>
        <p:nvCxnSpPr>
          <p:cNvPr id="26" name="Straight Connector 16">
            <a:extLst>
              <a:ext uri="{FF2B5EF4-FFF2-40B4-BE49-F238E27FC236}">
                <a16:creationId xmlns:a16="http://schemas.microsoft.com/office/drawing/2014/main" id="{D505FFF4-7756-027E-1274-55D8A1319E8E}"/>
              </a:ext>
            </a:extLst>
          </p:cNvPr>
          <p:cNvCxnSpPr>
            <a:cxnSpLocks/>
          </p:cNvCxnSpPr>
          <p:nvPr/>
        </p:nvCxnSpPr>
        <p:spPr>
          <a:xfrm flipH="1">
            <a:off x="5291999" y="2348442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cxnSp>
        <p:nvCxnSpPr>
          <p:cNvPr id="27" name="Straight Connector 17">
            <a:extLst>
              <a:ext uri="{FF2B5EF4-FFF2-40B4-BE49-F238E27FC236}">
                <a16:creationId xmlns:a16="http://schemas.microsoft.com/office/drawing/2014/main" id="{058EB6A9-37D2-7E0C-59D8-7D82E1E7E1F7}"/>
              </a:ext>
            </a:extLst>
          </p:cNvPr>
          <p:cNvCxnSpPr>
            <a:cxnSpLocks/>
          </p:cNvCxnSpPr>
          <p:nvPr/>
        </p:nvCxnSpPr>
        <p:spPr>
          <a:xfrm flipH="1">
            <a:off x="5291999" y="3416482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cxnSp>
        <p:nvCxnSpPr>
          <p:cNvPr id="29" name="Straight Connector 19">
            <a:extLst>
              <a:ext uri="{FF2B5EF4-FFF2-40B4-BE49-F238E27FC236}">
                <a16:creationId xmlns:a16="http://schemas.microsoft.com/office/drawing/2014/main" id="{2CDC70A0-9D97-B34B-3630-D0F42DE3791F}"/>
              </a:ext>
            </a:extLst>
          </p:cNvPr>
          <p:cNvCxnSpPr>
            <a:cxnSpLocks/>
          </p:cNvCxnSpPr>
          <p:nvPr/>
        </p:nvCxnSpPr>
        <p:spPr>
          <a:xfrm flipH="1">
            <a:off x="5291999" y="4980217"/>
            <a:ext cx="646978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</a:ln>
          <a:effectLst/>
        </p:spPr>
      </p:cxnSp>
      <p:sp>
        <p:nvSpPr>
          <p:cNvPr id="36" name="Rectangle 9">
            <a:extLst>
              <a:ext uri="{FF2B5EF4-FFF2-40B4-BE49-F238E27FC236}">
                <a16:creationId xmlns:a16="http://schemas.microsoft.com/office/drawing/2014/main" id="{396153C2-9CFF-7084-0017-FC7314F24827}"/>
              </a:ext>
            </a:extLst>
          </p:cNvPr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aste image</a:t>
            </a:r>
            <a:endParaRPr lang="en-GB" sz="1400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36961" algn="l"/>
              </a:tabLst>
              <a:defRPr/>
            </a:pPr>
            <a:r>
              <a:rPr lang="en-GB" sz="1400" dirty="0">
                <a:sym typeface="Arial" panose="020B0604020202020204" pitchFamily="34" charset="0"/>
              </a:rPr>
              <a:t>Copy image from external source with </a:t>
            </a:r>
            <a:r>
              <a:rPr lang="en-GB" sz="1400" dirty="0" err="1">
                <a:sym typeface="Arial" panose="020B0604020202020204" pitchFamily="34" charset="0"/>
              </a:rPr>
              <a:t>Ctrl+C</a:t>
            </a:r>
            <a:r>
              <a:rPr lang="en-GB" sz="1400" dirty="0">
                <a:sym typeface="Arial" panose="020B0604020202020204" pitchFamily="34" charset="0"/>
              </a:rPr>
              <a:t> and paste with </a:t>
            </a:r>
            <a:r>
              <a:rPr lang="en-GB" sz="1400" dirty="0" err="1">
                <a:sym typeface="Arial" panose="020B0604020202020204" pitchFamily="34" charset="0"/>
              </a:rPr>
              <a:t>Ctrl+V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ctangle 9">
            <a:extLst>
              <a:ext uri="{FF2B5EF4-FFF2-40B4-BE49-F238E27FC236}">
                <a16:creationId xmlns:a16="http://schemas.microsoft.com/office/drawing/2014/main" id="{8E2A294D-7376-56FC-81C4-07DAEAEC2652}"/>
              </a:ext>
            </a:extLst>
          </p:cNvPr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djust size &amp; determine image area:</a:t>
            </a:r>
            <a:endParaRPr lang="en-GB" sz="1400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lace image behind image mask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djust image size and determine image area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2368E7CE-E972-8CD8-6BF8-D06F6F14C013}"/>
              </a:ext>
            </a:extLst>
          </p:cNvPr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36961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rop image to image mask</a:t>
            </a:r>
            <a:endParaRPr lang="en-GB" sz="1400" b="1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Select image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Select image mask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36961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lick in the tab «Shape Format /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Merge Shapes» on «Intersect»</a:t>
            </a:r>
          </a:p>
        </p:txBody>
      </p:sp>
      <p:sp>
        <p:nvSpPr>
          <p:cNvPr id="39" name="Rectangle 9">
            <a:extLst>
              <a:ext uri="{FF2B5EF4-FFF2-40B4-BE49-F238E27FC236}">
                <a16:creationId xmlns:a16="http://schemas.microsoft.com/office/drawing/2014/main" id="{F0EDA22B-8E7D-E351-F670-CD080A61EAE7}"/>
              </a:ext>
            </a:extLst>
          </p:cNvPr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547533" algn="l"/>
              </a:tabLs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ombine image with mock-up</a:t>
            </a:r>
            <a:endParaRPr lang="en-GB" sz="1400" b="1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Place image behind mock-up</a:t>
            </a: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ctivate image and mock-up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and alig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both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horizontally (Align Center) and vertically (Align Middle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16000" marR="0" lvl="0" indent="-2160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547533" algn="l"/>
              </a:tabLst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Group image and mock-up with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  <a:sym typeface="Arial" panose="020B0604020202020204" pitchFamily="34" charset="0"/>
              </a:rPr>
              <a:t>Ctrl+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hteck 7">
            <a:extLst>
              <a:ext uri="{FF2B5EF4-FFF2-40B4-BE49-F238E27FC236}">
                <a16:creationId xmlns:a16="http://schemas.microsoft.com/office/drawing/2014/main" id="{D24EEAA8-773C-A8FE-249D-B39010194D79}"/>
              </a:ext>
            </a:extLst>
          </p:cNvPr>
          <p:cNvSpPr>
            <a:spLocks noChangeAspect="1"/>
          </p:cNvSpPr>
          <p:nvPr/>
        </p:nvSpPr>
        <p:spPr>
          <a:xfrm>
            <a:off x="10443538" y="2486085"/>
            <a:ext cx="370891" cy="792000"/>
          </a:xfrm>
          <a:prstGeom prst="roundRect">
            <a:avLst/>
          </a:prstGeom>
          <a:solidFill>
            <a:schemeClr val="accent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95883" rIns="0" bIns="958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mage mask</a:t>
            </a:r>
          </a:p>
        </p:txBody>
      </p:sp>
      <p:sp>
        <p:nvSpPr>
          <p:cNvPr id="18" name="Rechteck 7">
            <a:extLst>
              <a:ext uri="{FF2B5EF4-FFF2-40B4-BE49-F238E27FC236}">
                <a16:creationId xmlns:a16="http://schemas.microsoft.com/office/drawing/2014/main" id="{2DE11960-C79E-3D98-1C2D-9570CE33478F}"/>
              </a:ext>
            </a:extLst>
          </p:cNvPr>
          <p:cNvSpPr/>
          <p:nvPr/>
        </p:nvSpPr>
        <p:spPr>
          <a:xfrm>
            <a:off x="645891" y="1901419"/>
            <a:ext cx="1106662" cy="2373969"/>
          </a:xfrm>
          <a:prstGeom prst="roundRect">
            <a:avLst/>
          </a:prstGeom>
          <a:solidFill>
            <a:schemeClr val="accent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43823" tIns="95883" rIns="143823" bIns="958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mage mask</a:t>
            </a:r>
          </a:p>
        </p:txBody>
      </p:sp>
      <p:pic>
        <p:nvPicPr>
          <p:cNvPr id="15" name="Grafik 6">
            <a:extLst>
              <a:ext uri="{FF2B5EF4-FFF2-40B4-BE49-F238E27FC236}">
                <a16:creationId xmlns:a16="http://schemas.microsoft.com/office/drawing/2014/main" id="{D8D979F6-F045-5158-1F9A-D91FE91F40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999" y="1533833"/>
            <a:ext cx="1198365" cy="24265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F7B04AB5-A7EC-B759-4884-AB565B1EA59B}"/>
              </a:ext>
            </a:extLst>
          </p:cNvPr>
          <p:cNvGrpSpPr>
            <a:grpSpLocks noChangeAspect="1"/>
          </p:cNvGrpSpPr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2" name="Picture Placeholder 7">
              <a:extLst>
                <a:ext uri="{FF2B5EF4-FFF2-40B4-BE49-F238E27FC236}">
                  <a16:creationId xmlns:a16="http://schemas.microsoft.com/office/drawing/2014/main" id="{BE709E8D-C0D8-2B6E-8381-BEBBE915C1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2681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/>
            </a:prstGeom>
          </p:spPr>
        </p:pic>
        <p:pic>
          <p:nvPicPr>
            <p:cNvPr id="16" name="Grafik 6">
              <a:extLst>
                <a:ext uri="{FF2B5EF4-FFF2-40B4-BE49-F238E27FC236}">
                  <a16:creationId xmlns:a16="http://schemas.microsoft.com/office/drawing/2014/main" id="{A4FDA358-1780-99E0-2737-E56C3A579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</p:spPr>
        </p:pic>
      </p:grpSp>
      <p:pic>
        <p:nvPicPr>
          <p:cNvPr id="32" name="Picture Placeholder 7">
            <a:extLst>
              <a:ext uri="{FF2B5EF4-FFF2-40B4-BE49-F238E27FC236}">
                <a16:creationId xmlns:a16="http://schemas.microsoft.com/office/drawing/2014/main" id="{9043C4E1-3D68-81E2-E1BD-7517666D04C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2681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/>
          </a:prstGeom>
        </p:spPr>
      </p:pic>
      <p:cxnSp>
        <p:nvCxnSpPr>
          <p:cNvPr id="51" name="Gerade Verbindung mit Pfeil 94">
            <a:extLst>
              <a:ext uri="{FF2B5EF4-FFF2-40B4-BE49-F238E27FC236}">
                <a16:creationId xmlns:a16="http://schemas.microsoft.com/office/drawing/2014/main" id="{83C441EF-8FC1-8E1C-3378-18F028D8DD6C}"/>
              </a:ext>
            </a:extLst>
          </p:cNvPr>
          <p:cNvCxnSpPr>
            <a:cxnSpLocks/>
          </p:cNvCxnSpPr>
          <p:nvPr/>
        </p:nvCxnSpPr>
        <p:spPr bwMode="auto">
          <a:xfrm>
            <a:off x="1630364" y="1747178"/>
            <a:ext cx="346110" cy="0"/>
          </a:xfrm>
          <a:prstGeom prst="straightConnector1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E077136-A359-6834-4D96-10A159D068E2}"/>
              </a:ext>
            </a:extLst>
          </p:cNvPr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cs typeface="Arial" panose="020B0604020202020204" pitchFamily="34" charset="0"/>
                <a:sym typeface="Arial" panose="020B0604020202020204" pitchFamily="34" charset="0"/>
              </a:rPr>
              <a:t>Mock-up</a:t>
            </a:r>
            <a:endParaRPr lang="en-GB" sz="1400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A1B78AA-B442-4E80-D98B-0E25A8166C8D}"/>
              </a:ext>
            </a:extLst>
          </p:cNvPr>
          <p:cNvGrpSpPr>
            <a:grpSpLocks noChangeAspect="1"/>
          </p:cNvGrpSpPr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81DEFC94-AAB5-D9D2-60CE-3FBE823E7F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>
                <a:gd name="connsiteX0" fmla="*/ 326940 w 1961601"/>
                <a:gd name="connsiteY0" fmla="*/ 0 h 4207952"/>
                <a:gd name="connsiteX1" fmla="*/ 1634661 w 1961601"/>
                <a:gd name="connsiteY1" fmla="*/ 0 h 4207952"/>
                <a:gd name="connsiteX2" fmla="*/ 1961601 w 1961601"/>
                <a:gd name="connsiteY2" fmla="*/ 326940 h 4207952"/>
                <a:gd name="connsiteX3" fmla="*/ 1961601 w 1961601"/>
                <a:gd name="connsiteY3" fmla="*/ 3881012 h 4207952"/>
                <a:gd name="connsiteX4" fmla="*/ 1634661 w 1961601"/>
                <a:gd name="connsiteY4" fmla="*/ 4207952 h 4207952"/>
                <a:gd name="connsiteX5" fmla="*/ 326940 w 1961601"/>
                <a:gd name="connsiteY5" fmla="*/ 4207952 h 4207952"/>
                <a:gd name="connsiteX6" fmla="*/ 0 w 1961601"/>
                <a:gd name="connsiteY6" fmla="*/ 3881012 h 4207952"/>
                <a:gd name="connsiteX7" fmla="*/ 0 w 1961601"/>
                <a:gd name="connsiteY7" fmla="*/ 326940 h 4207952"/>
                <a:gd name="connsiteX8" fmla="*/ 326940 w 1961601"/>
                <a:gd name="connsiteY8" fmla="*/ 0 h 420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1601" h="4207952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</p:spPr>
        </p:pic>
        <p:pic>
          <p:nvPicPr>
            <p:cNvPr id="56" name="Grafik 6">
              <a:extLst>
                <a:ext uri="{FF2B5EF4-FFF2-40B4-BE49-F238E27FC236}">
                  <a16:creationId xmlns:a16="http://schemas.microsoft.com/office/drawing/2014/main" id="{2C9FC6E7-1D13-39D2-84C4-550EE3AD7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5C1531B-FCF3-8E1D-042D-E9954237695D}"/>
              </a:ext>
            </a:extLst>
          </p:cNvPr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83" name="Gerade Verbindung mit Pfeil 94">
              <a:extLst>
                <a:ext uri="{FF2B5EF4-FFF2-40B4-BE49-F238E27FC236}">
                  <a16:creationId xmlns:a16="http://schemas.microsoft.com/office/drawing/2014/main" id="{26F29021-FD09-B4A8-3ACD-8752751386F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99222" y="5015253"/>
              <a:ext cx="1140370" cy="0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94">
              <a:extLst>
                <a:ext uri="{FF2B5EF4-FFF2-40B4-BE49-F238E27FC236}">
                  <a16:creationId xmlns:a16="http://schemas.microsoft.com/office/drawing/2014/main" id="{27A77CE4-F956-1E37-E57F-8438430DC90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199222" y="4392591"/>
              <a:ext cx="0" cy="622662"/>
            </a:xfrm>
            <a:prstGeom prst="straightConnector1">
              <a:avLst/>
            </a:prstGeom>
            <a:ln w="6350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950D15-1331-B991-B353-3483937BEA99}"/>
              </a:ext>
            </a:extLst>
          </p:cNvPr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A50ACF0-5087-7B3C-B1C4-5E284080521D}"/>
                </a:ext>
              </a:extLst>
            </p:cNvPr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C50CE52-03F9-1A9E-66AC-3D2069DE1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7BED565-EB24-F063-AA98-86FCE2BFC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</p:spPr>
        </p:pic>
        <p:sp>
          <p:nvSpPr>
            <p:cNvPr id="35" name="Rechteck 38">
              <a:extLst>
                <a:ext uri="{FF2B5EF4-FFF2-40B4-BE49-F238E27FC236}">
                  <a16:creationId xmlns:a16="http://schemas.microsoft.com/office/drawing/2014/main" id="{B11CA7EB-EB7B-E08E-AB44-522BF86322D6}"/>
                </a:ext>
              </a:extLst>
            </p:cNvPr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4F2FEB1-9330-2349-1331-9186C63905F0}"/>
              </a:ext>
            </a:extLst>
          </p:cNvPr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EEBA11-B7F1-E763-C457-2B7D23AE0062}"/>
                </a:ext>
              </a:extLst>
            </p:cNvPr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6C68DA2-ECEC-B04C-6E86-A17C7B784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8B6FE052-9742-C43F-AF83-14C3AD8CF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</p:spPr>
        </p:pic>
        <p:sp>
          <p:nvSpPr>
            <p:cNvPr id="23" name="Rechteck 38">
              <a:extLst>
                <a:ext uri="{FF2B5EF4-FFF2-40B4-BE49-F238E27FC236}">
                  <a16:creationId xmlns:a16="http://schemas.microsoft.com/office/drawing/2014/main" id="{816BE51F-3CE6-E987-40F9-82C2B96B43EE}"/>
                </a:ext>
              </a:extLst>
            </p:cNvPr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EA17F711-3B1B-E9E5-4EBB-63A779C85849}"/>
                </a:ext>
              </a:extLst>
            </p:cNvPr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" name="Rechteck 38">
              <a:extLst>
                <a:ext uri="{FF2B5EF4-FFF2-40B4-BE49-F238E27FC236}">
                  <a16:creationId xmlns:a16="http://schemas.microsoft.com/office/drawing/2014/main" id="{DD7A323E-BF63-ACC2-3AEE-D936348AAC22}"/>
                </a:ext>
              </a:extLst>
            </p:cNvPr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883401"/>
      </p:ext>
    </p:extLst>
  </p:cSld>
  <p:clrMapOvr>
    <a:masterClrMapping/>
  </p:clrMapOvr>
  <p:transition spd="slow">
    <p:push dir="u"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p:transition spd="slow">
    <p:push dir="u"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74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33" b="1" kern="1200" spc="40">
                <a:solidFill>
                  <a:schemeClr val="bg1"/>
                </a:solidFill>
                <a:cs typeface="Arial" panose="020B0604020202020204" pitchFamily="34" charset="0"/>
              </a:rPr>
              <a:t>Working area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epending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on the slide, a single-column layout, a 2-column o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3-column layout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is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used.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isplay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the rule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and guides in the «View» tab.</a:t>
            </a:r>
            <a:endParaRPr lang="en-GB" sz="1600" spc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p:transition spd="slow">
    <p:push dir="u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4456762" y="2173030"/>
            <a:ext cx="0" cy="4254758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Main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6869090" y="2885608"/>
            <a:ext cx="602764" cy="217375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5"/>
            <a:endParaRPr lang="en-GB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10" y="2406096"/>
            <a:ext cx="1966241" cy="141323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rgbClr val="E30613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4761918" y="3930778"/>
            <a:ext cx="7001457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4718717" y="2885608"/>
            <a:ext cx="1324291" cy="217375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Default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7589112" y="2885608"/>
            <a:ext cx="4159413" cy="217375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4718717" y="5661456"/>
            <a:ext cx="2770131" cy="217375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9015202" y="5661456"/>
            <a:ext cx="2770131" cy="217375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AD0D753-004B-7256-B36A-8C4738724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7458635" y="1380565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avorite object</a:t>
            </a:r>
          </a:p>
        </p:txBody>
      </p:sp>
    </p:spTree>
    <p:extLst>
      <p:ext uri="{BB962C8B-B14F-4D97-AF65-F5344CB8AC3E}">
        <p14:creationId xmlns:p14="http://schemas.microsoft.com/office/powerpoint/2010/main" val="408256245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AD0D753-004B-7256-B36A-8C4738724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7709647" y="1786965"/>
            <a:ext cx="2677459" cy="370541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hared with me</a:t>
            </a:r>
          </a:p>
        </p:txBody>
      </p:sp>
    </p:spTree>
    <p:extLst>
      <p:ext uri="{BB962C8B-B14F-4D97-AF65-F5344CB8AC3E}">
        <p14:creationId xmlns:p14="http://schemas.microsoft.com/office/powerpoint/2010/main" val="324128187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8044329" y="2067859"/>
            <a:ext cx="1649506" cy="40042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recent</a:t>
            </a:r>
          </a:p>
        </p:txBody>
      </p:sp>
    </p:spTree>
    <p:extLst>
      <p:ext uri="{BB962C8B-B14F-4D97-AF65-F5344CB8AC3E}">
        <p14:creationId xmlns:p14="http://schemas.microsoft.com/office/powerpoint/2010/main" val="3866108369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5767294" y="2838825"/>
            <a:ext cx="1404471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trash</a:t>
            </a:r>
          </a:p>
        </p:txBody>
      </p:sp>
    </p:spTree>
    <p:extLst>
      <p:ext uri="{BB962C8B-B14F-4D97-AF65-F5344CB8AC3E}">
        <p14:creationId xmlns:p14="http://schemas.microsoft.com/office/powerpoint/2010/main" val="271950616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94</TotalTime>
  <Words>2679</Words>
  <Application>Microsoft Office PowerPoint</Application>
  <PresentationFormat>Widescreen</PresentationFormat>
  <Paragraphs>598</Paragraphs>
  <Slides>57</Slides>
  <Notes>56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4" baseType="lpstr">
      <vt:lpstr>ＭＳ Ｐゴシック</vt:lpstr>
      <vt:lpstr>Arial</vt:lpstr>
      <vt:lpstr>Calibri</vt:lpstr>
      <vt:lpstr>Calibri Light</vt:lpstr>
      <vt:lpstr>Century Gothic</vt:lpstr>
      <vt:lpstr>bbv template 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Ypp 4</vt:lpstr>
      <vt:lpstr>Presentation title with customer logo</vt:lpstr>
      <vt:lpstr>Agenda</vt:lpstr>
      <vt:lpstr>Agenda (variant)</vt:lpstr>
      <vt:lpstr>Participant introduction (5 people)</vt:lpstr>
      <vt:lpstr>Participant introduction (4 people)</vt:lpstr>
      <vt:lpstr>Participant introduction (3 people)</vt:lpstr>
      <vt:lpstr>Participant introduction (2 people)</vt:lpstr>
      <vt:lpstr>Chapter title</vt:lpstr>
      <vt:lpstr>2 columns of text, 1 image (1/4)</vt:lpstr>
      <vt:lpstr>2 columns of text, 1 image (1/4) – variant</vt:lpstr>
      <vt:lpstr>1 column of text, 1 image (1/3)</vt:lpstr>
      <vt:lpstr>1 column of text, 1 image (1/2)</vt:lpstr>
      <vt:lpstr>Text – variant</vt:lpstr>
      <vt:lpstr>Product development procedure</vt:lpstr>
      <vt:lpstr>Agile methodology</vt:lpstr>
      <vt:lpstr>Scrum process</vt:lpstr>
      <vt:lpstr>Testimonial</vt:lpstr>
      <vt:lpstr>Next steps &amp; deadlines</vt:lpstr>
      <vt:lpstr>Next steps</vt:lpstr>
      <vt:lpstr>Milestones</vt:lpstr>
      <vt:lpstr>Deadlines</vt:lpstr>
      <vt:lpstr>Planning</vt:lpstr>
      <vt:lpstr>Deadlines</vt:lpstr>
      <vt:lpstr>SWOT</vt:lpstr>
      <vt:lpstr>Text structure with bullet list</vt:lpstr>
      <vt:lpstr>Process</vt:lpstr>
      <vt:lpstr>Web solution</vt:lpstr>
      <vt:lpstr>Mobile app</vt:lpstr>
      <vt:lpstr>PowerPoint Presentation</vt:lpstr>
      <vt:lpstr>Software Development Quality Map</vt:lpstr>
      <vt:lpstr>Technica Radar – Vol. 4/2024</vt:lpstr>
      <vt:lpstr>Break</vt:lpstr>
      <vt:lpstr>Contact (1 person)</vt:lpstr>
      <vt:lpstr>Contact (2 persons)</vt:lpstr>
      <vt:lpstr>Contact (3 persons)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tran</cp:lastModifiedBy>
  <cp:revision>3</cp:revision>
  <dcterms:created xsi:type="dcterms:W3CDTF">2025-07-10T03:51:23Z</dcterms:created>
  <dcterms:modified xsi:type="dcterms:W3CDTF">2025-07-25T03:09:39Z</dcterms:modified>
</cp:coreProperties>
</file>